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75" r:id="rId5"/>
  </p:sldMasterIdLst>
  <p:notesMasterIdLst>
    <p:notesMasterId r:id="rId17"/>
  </p:notesMasterIdLst>
  <p:handoutMasterIdLst>
    <p:handoutMasterId r:id="rId18"/>
  </p:handoutMasterIdLst>
  <p:sldIdLst>
    <p:sldId id="406" r:id="rId6"/>
    <p:sldId id="408" r:id="rId7"/>
    <p:sldId id="1993" r:id="rId8"/>
    <p:sldId id="1989" r:id="rId9"/>
    <p:sldId id="1985" r:id="rId10"/>
    <p:sldId id="1990" r:id="rId11"/>
    <p:sldId id="1994" r:id="rId12"/>
    <p:sldId id="1991" r:id="rId13"/>
    <p:sldId id="1996" r:id="rId14"/>
    <p:sldId id="427" r:id="rId15"/>
    <p:sldId id="428" r:id="rId16"/>
  </p:sldIdLst>
  <p:sldSz cx="12436475" cy="6994525"/>
  <p:notesSz cx="6858000" cy="20193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29B20ED-12AE-4712-B960-47E4B6DC40EA}">
          <p14:sldIdLst>
            <p14:sldId id="406"/>
            <p14:sldId id="408"/>
          </p14:sldIdLst>
        </p14:section>
        <p14:section name="Screens" id="{888D21F5-8E95-4D96-A95C-EFB15FA5AAD2}">
          <p14:sldIdLst>
            <p14:sldId id="1993"/>
            <p14:sldId id="1989"/>
            <p14:sldId id="1985"/>
            <p14:sldId id="1990"/>
          </p14:sldIdLst>
        </p14:section>
        <p14:section name="Navigation" id="{B5619F58-A338-4F6E-9B1E-7D9B0E6B1175}">
          <p14:sldIdLst>
            <p14:sldId id="1994"/>
            <p14:sldId id="1991"/>
          </p14:sldIdLst>
        </p14:section>
        <p14:section name="Lab" id="{571D9A4F-F4BB-464D-B536-F7EBA5F40BAF}">
          <p14:sldIdLst>
            <p14:sldId id="1996"/>
            <p14:sldId id="427"/>
            <p14:sldId id="42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3AB6034-CB6F-2062-1CF2-E5A3E36603AC}" name="Matias Rama" initials="MR" userId="S::matrs@microsoft.com::bdb996b8-8278-412a-926d-fa225ff77c3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 id="5" name="Tony Carmalitano" initials="TC" lastIdx="6" clrIdx="5">
    <p:extLst>
      <p:ext uri="{19B8F6BF-5375-455C-9EA6-DF929625EA0E}">
        <p15:presenceInfo xmlns:p15="http://schemas.microsoft.com/office/powerpoint/2012/main" userId="S-1-5-21-124525095-708259637-1543119021-1678611" providerId="AD"/>
      </p:ext>
    </p:extLst>
  </p:cmAuthor>
  <p:cmAuthor id="6" name="Brian Jackett" initials="BJ" lastIdx="1" clrIdx="6">
    <p:extLst>
      <p:ext uri="{19B8F6BF-5375-455C-9EA6-DF929625EA0E}">
        <p15:presenceInfo xmlns:p15="http://schemas.microsoft.com/office/powerpoint/2012/main" userId="S-1-5-21-124525095-708259637-1543119021-114709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188F"/>
    <a:srgbClr val="107C10"/>
    <a:srgbClr val="008272"/>
    <a:srgbClr val="B4009E"/>
    <a:srgbClr val="002050"/>
    <a:srgbClr val="00BCF2"/>
    <a:srgbClr val="525252"/>
    <a:srgbClr val="737373"/>
    <a:srgbClr val="E300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266" autoAdjust="0"/>
    <p:restoredTop sz="70378" autoAdjust="0"/>
  </p:normalViewPr>
  <p:slideViewPr>
    <p:cSldViewPr>
      <p:cViewPr varScale="1">
        <p:scale>
          <a:sx n="80" d="100"/>
          <a:sy n="80" d="100"/>
        </p:scale>
        <p:origin x="633" y="54"/>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p:scale>
          <a:sx n="130" d="100"/>
          <a:sy n="130" d="100"/>
        </p:scale>
        <p:origin x="2922" y="-252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shabh Mathur" userId="085a90ad-ff62-452d-9cc6-fb668aecc57d" providerId="ADAL" clId="{D7BEC542-4AFA-495D-81F9-A79EA35BEB25}"/>
    <pc:docChg chg="modSld">
      <pc:chgData name="Rishabh Mathur" userId="085a90ad-ff62-452d-9cc6-fb668aecc57d" providerId="ADAL" clId="{D7BEC542-4AFA-495D-81F9-A79EA35BEB25}" dt="2020-03-03T03:10:44.153" v="2" actId="255"/>
      <pc:docMkLst>
        <pc:docMk/>
      </pc:docMkLst>
      <pc:sldChg chg="modSp mod">
        <pc:chgData name="Rishabh Mathur" userId="085a90ad-ff62-452d-9cc6-fb668aecc57d" providerId="ADAL" clId="{D7BEC542-4AFA-495D-81F9-A79EA35BEB25}" dt="2020-03-03T03:10:44.153" v="2" actId="255"/>
        <pc:sldMkLst>
          <pc:docMk/>
          <pc:sldMk cId="616292797" sldId="406"/>
        </pc:sldMkLst>
        <pc:spChg chg="mod">
          <ac:chgData name="Rishabh Mathur" userId="085a90ad-ff62-452d-9cc6-fb668aecc57d" providerId="ADAL" clId="{D7BEC542-4AFA-495D-81F9-A79EA35BEB25}" dt="2020-03-03T03:10:44.153" v="2" actId="255"/>
          <ac:spMkLst>
            <pc:docMk/>
            <pc:sldMk cId="616292797" sldId="406"/>
            <ac:spMk id="2" creationId="{00000000-0000-0000-0000-000000000000}"/>
          </ac:spMkLst>
        </pc:spChg>
      </pc:sldChg>
    </pc:docChg>
  </pc:docChgLst>
  <pc:docChgLst>
    <pc:chgData name="Christopher Weaver" userId="2d47d5c7-389a-4b91-8fc5-dfad12ad20c7" providerId="ADAL" clId="{4194515C-FA43-48D0-B5C4-E813FE67077E}"/>
    <pc:docChg chg="modSld">
      <pc:chgData name="Christopher Weaver" userId="2d47d5c7-389a-4b91-8fc5-dfad12ad20c7" providerId="ADAL" clId="{4194515C-FA43-48D0-B5C4-E813FE67077E}" dt="2020-02-25T20:44:34.783" v="23" actId="20577"/>
      <pc:docMkLst>
        <pc:docMk/>
      </pc:docMkLst>
      <pc:sldChg chg="modSp">
        <pc:chgData name="Christopher Weaver" userId="2d47d5c7-389a-4b91-8fc5-dfad12ad20c7" providerId="ADAL" clId="{4194515C-FA43-48D0-B5C4-E813FE67077E}" dt="2020-02-25T20:44:34.783" v="23" actId="20577"/>
        <pc:sldMkLst>
          <pc:docMk/>
          <pc:sldMk cId="616292797" sldId="406"/>
        </pc:sldMkLst>
        <pc:spChg chg="mod">
          <ac:chgData name="Christopher Weaver" userId="2d47d5c7-389a-4b91-8fc5-dfad12ad20c7" providerId="ADAL" clId="{4194515C-FA43-48D0-B5C4-E813FE67077E}" dt="2020-02-25T20:44:34.783" v="23" actId="20577"/>
          <ac:spMkLst>
            <pc:docMk/>
            <pc:sldMk cId="616292797" sldId="406"/>
            <ac:spMk id="2" creationId="{00000000-0000-0000-0000-000000000000}"/>
          </ac:spMkLst>
        </pc:spChg>
      </pc:sldChg>
    </pc:docChg>
  </pc:docChgLst>
  <pc:docChgLst>
    <pc:chgData name="Christopher Weaver" userId="2d47d5c7-389a-4b91-8fc5-dfad12ad20c7" providerId="ADAL" clId="{80CC674D-3640-4E37-91CE-E2E28C4B6007}"/>
    <pc:docChg chg="">
      <pc:chgData name="Christopher Weaver" userId="2d47d5c7-389a-4b91-8fc5-dfad12ad20c7" providerId="ADAL" clId="{80CC674D-3640-4E37-91CE-E2E28C4B6007}" dt="2020-11-05T18:58:20.264" v="0"/>
      <pc:docMkLst>
        <pc:docMk/>
      </pc:docMkLst>
      <pc:sldChg chg="delCm">
        <pc:chgData name="Christopher Weaver" userId="2d47d5c7-389a-4b91-8fc5-dfad12ad20c7" providerId="ADAL" clId="{80CC674D-3640-4E37-91CE-E2E28C4B6007}" dt="2020-11-05T18:58:20.264" v="0"/>
        <pc:sldMkLst>
          <pc:docMk/>
          <pc:sldMk cId="3081173804" sldId="1986"/>
        </pc:sldMkLst>
      </pc:sldChg>
    </pc:docChg>
  </pc:docChgLst>
  <pc:docChgLst>
    <pc:chgData name="Alison Yeh" userId="86d98d7c-5861-42c0-9426-3e74a9b3ea79" providerId="ADAL" clId="{D573B5F2-07D7-44E3-AD0A-29D7C487963C}"/>
    <pc:docChg chg="modSld">
      <pc:chgData name="Alison Yeh" userId="86d98d7c-5861-42c0-9426-3e74a9b3ea79" providerId="ADAL" clId="{D573B5F2-07D7-44E3-AD0A-29D7C487963C}" dt="2020-11-05T07:36:08.999" v="37" actId="20577"/>
      <pc:docMkLst>
        <pc:docMk/>
      </pc:docMkLst>
      <pc:sldChg chg="modSp mod">
        <pc:chgData name="Alison Yeh" userId="86d98d7c-5861-42c0-9426-3e74a9b3ea79" providerId="ADAL" clId="{D573B5F2-07D7-44E3-AD0A-29D7C487963C}" dt="2020-11-05T07:35:03.172" v="12" actId="20577"/>
        <pc:sldMkLst>
          <pc:docMk/>
          <pc:sldMk cId="6914788" sldId="418"/>
        </pc:sldMkLst>
        <pc:spChg chg="mod">
          <ac:chgData name="Alison Yeh" userId="86d98d7c-5861-42c0-9426-3e74a9b3ea79" providerId="ADAL" clId="{D573B5F2-07D7-44E3-AD0A-29D7C487963C}" dt="2020-11-05T07:35:03.172" v="12" actId="20577"/>
          <ac:spMkLst>
            <pc:docMk/>
            <pc:sldMk cId="6914788" sldId="418"/>
            <ac:spMk id="2" creationId="{C8D1F36B-668C-425E-9C99-F45BD1518015}"/>
          </ac:spMkLst>
        </pc:spChg>
      </pc:sldChg>
      <pc:sldChg chg="modSp">
        <pc:chgData name="Alison Yeh" userId="86d98d7c-5861-42c0-9426-3e74a9b3ea79" providerId="ADAL" clId="{D573B5F2-07D7-44E3-AD0A-29D7C487963C}" dt="2020-11-05T07:36:08.999" v="37" actId="20577"/>
        <pc:sldMkLst>
          <pc:docMk/>
          <pc:sldMk cId="3486571688" sldId="426"/>
        </pc:sldMkLst>
        <pc:spChg chg="mod">
          <ac:chgData name="Alison Yeh" userId="86d98d7c-5861-42c0-9426-3e74a9b3ea79" providerId="ADAL" clId="{D573B5F2-07D7-44E3-AD0A-29D7C487963C}" dt="2020-11-05T07:36:08.999" v="37" actId="20577"/>
          <ac:spMkLst>
            <pc:docMk/>
            <pc:sldMk cId="3486571688" sldId="426"/>
            <ac:spMk id="2" creationId="{9010681A-0D45-41F6-BE85-00C7915E7027}"/>
          </ac:spMkLst>
        </pc:spChg>
      </pc:sldChg>
      <pc:sldChg chg="modSp mod">
        <pc:chgData name="Alison Yeh" userId="86d98d7c-5861-42c0-9426-3e74a9b3ea79" providerId="ADAL" clId="{D573B5F2-07D7-44E3-AD0A-29D7C487963C}" dt="2020-11-05T07:34:03.054" v="2" actId="20577"/>
        <pc:sldMkLst>
          <pc:docMk/>
          <pc:sldMk cId="3081173804" sldId="1986"/>
        </pc:sldMkLst>
        <pc:spChg chg="mod">
          <ac:chgData name="Alison Yeh" userId="86d98d7c-5861-42c0-9426-3e74a9b3ea79" providerId="ADAL" clId="{D573B5F2-07D7-44E3-AD0A-29D7C487963C}" dt="2020-11-05T07:34:03.054" v="2" actId="20577"/>
          <ac:spMkLst>
            <pc:docMk/>
            <pc:sldMk cId="3081173804" sldId="1986"/>
            <ac:spMk id="7" creationId="{5EB3B185-9895-46BC-9BA5-2EC41D5B7C43}"/>
          </ac:spMkLst>
        </pc:spChg>
      </pc:sldChg>
      <pc:sldChg chg="modSp mod">
        <pc:chgData name="Alison Yeh" userId="86d98d7c-5861-42c0-9426-3e74a9b3ea79" providerId="ADAL" clId="{D573B5F2-07D7-44E3-AD0A-29D7C487963C}" dt="2020-11-05T07:35:16.556" v="18" actId="20577"/>
        <pc:sldMkLst>
          <pc:docMk/>
          <pc:sldMk cId="2397058738" sldId="1987"/>
        </pc:sldMkLst>
        <pc:spChg chg="mod">
          <ac:chgData name="Alison Yeh" userId="86d98d7c-5861-42c0-9426-3e74a9b3ea79" providerId="ADAL" clId="{D573B5F2-07D7-44E3-AD0A-29D7C487963C}" dt="2020-11-05T07:35:16.556" v="18" actId="20577"/>
          <ac:spMkLst>
            <pc:docMk/>
            <pc:sldMk cId="2397058738" sldId="1987"/>
            <ac:spMk id="7" creationId="{084F0EE3-70B5-4533-A0A3-C9B4AA06EF1C}"/>
          </ac:spMkLst>
        </pc:spChg>
      </pc:sldChg>
      <pc:sldChg chg="modSp mod modNotesTx">
        <pc:chgData name="Alison Yeh" userId="86d98d7c-5861-42c0-9426-3e74a9b3ea79" providerId="ADAL" clId="{D573B5F2-07D7-44E3-AD0A-29D7C487963C}" dt="2020-11-05T07:35:27.446" v="26" actId="20577"/>
        <pc:sldMkLst>
          <pc:docMk/>
          <pc:sldMk cId="3711151781" sldId="1988"/>
        </pc:sldMkLst>
        <pc:spChg chg="mod">
          <ac:chgData name="Alison Yeh" userId="86d98d7c-5861-42c0-9426-3e74a9b3ea79" providerId="ADAL" clId="{D573B5F2-07D7-44E3-AD0A-29D7C487963C}" dt="2020-11-05T07:35:19.827" v="19" actId="20577"/>
          <ac:spMkLst>
            <pc:docMk/>
            <pc:sldMk cId="3711151781" sldId="1988"/>
            <ac:spMk id="3" creationId="{A01C5015-850D-4AB4-BBC4-5CD47E1DB9FE}"/>
          </ac:spMkLst>
        </pc:spChg>
        <pc:spChg chg="mod">
          <ac:chgData name="Alison Yeh" userId="86d98d7c-5861-42c0-9426-3e74a9b3ea79" providerId="ADAL" clId="{D573B5F2-07D7-44E3-AD0A-29D7C487963C}" dt="2020-11-05T07:35:22.584" v="25" actId="20577"/>
          <ac:spMkLst>
            <pc:docMk/>
            <pc:sldMk cId="3711151781" sldId="1988"/>
            <ac:spMk id="10" creationId="{430572B6-216D-4850-AA6C-E9CAAD4D2DD0}"/>
          </ac:spMkLst>
        </pc:spChg>
      </pc:sldChg>
      <pc:sldChg chg="modNotesTx">
        <pc:chgData name="Alison Yeh" userId="86d98d7c-5861-42c0-9426-3e74a9b3ea79" providerId="ADAL" clId="{D573B5F2-07D7-44E3-AD0A-29D7C487963C}" dt="2020-11-05T07:35:33.050" v="27" actId="20577"/>
        <pc:sldMkLst>
          <pc:docMk/>
          <pc:sldMk cId="4093496454" sldId="1989"/>
        </pc:sldMkLst>
      </pc:sldChg>
      <pc:sldChg chg="modSp mod">
        <pc:chgData name="Alison Yeh" userId="86d98d7c-5861-42c0-9426-3e74a9b3ea79" providerId="ADAL" clId="{D573B5F2-07D7-44E3-AD0A-29D7C487963C}" dt="2020-11-05T07:35:56.977" v="30" actId="20577"/>
        <pc:sldMkLst>
          <pc:docMk/>
          <pc:sldMk cId="1796922269" sldId="1996"/>
        </pc:sldMkLst>
        <pc:spChg chg="mod">
          <ac:chgData name="Alison Yeh" userId="86d98d7c-5861-42c0-9426-3e74a9b3ea79" providerId="ADAL" clId="{D573B5F2-07D7-44E3-AD0A-29D7C487963C}" dt="2020-11-05T07:35:56.977" v="30" actId="20577"/>
          <ac:spMkLst>
            <pc:docMk/>
            <pc:sldMk cId="1796922269" sldId="1996"/>
            <ac:spMk id="4" creationId="{00000000-0000-0000-0000-000000000000}"/>
          </ac:spMkLst>
        </pc:spChg>
      </pc:sldChg>
    </pc:docChg>
  </pc:docChgLst>
  <pc:docChgLst>
    <pc:chgData name="Justin Evans (CE SP)" userId="47353291-c02c-44a9-b576-fcb26b0c3050" providerId="ADAL" clId="{C90F4E39-73EF-4A17-BA8E-4754C8888AE0}"/>
    <pc:docChg chg="delSld modSld delMainMaster modSection">
      <pc:chgData name="Justin Evans (CE SP)" userId="47353291-c02c-44a9-b576-fcb26b0c3050" providerId="ADAL" clId="{C90F4E39-73EF-4A17-BA8E-4754C8888AE0}" dt="2021-10-05T00:19:47.273" v="27" actId="6549"/>
      <pc:docMkLst>
        <pc:docMk/>
      </pc:docMkLst>
      <pc:sldChg chg="modSp mod">
        <pc:chgData name="Justin Evans (CE SP)" userId="47353291-c02c-44a9-b576-fcb26b0c3050" providerId="ADAL" clId="{C90F4E39-73EF-4A17-BA8E-4754C8888AE0}" dt="2021-09-30T13:42:51.483" v="3" actId="20577"/>
        <pc:sldMkLst>
          <pc:docMk/>
          <pc:sldMk cId="616292797" sldId="406"/>
        </pc:sldMkLst>
        <pc:spChg chg="mod">
          <ac:chgData name="Justin Evans (CE SP)" userId="47353291-c02c-44a9-b576-fcb26b0c3050" providerId="ADAL" clId="{C90F4E39-73EF-4A17-BA8E-4754C8888AE0}" dt="2021-09-30T13:42:51.483" v="3" actId="20577"/>
          <ac:spMkLst>
            <pc:docMk/>
            <pc:sldMk cId="616292797" sldId="406"/>
            <ac:spMk id="2" creationId="{00000000-0000-0000-0000-000000000000}"/>
          </ac:spMkLst>
        </pc:spChg>
      </pc:sldChg>
      <pc:sldChg chg="modSp mod">
        <pc:chgData name="Justin Evans (CE SP)" userId="47353291-c02c-44a9-b576-fcb26b0c3050" providerId="ADAL" clId="{C90F4E39-73EF-4A17-BA8E-4754C8888AE0}" dt="2021-10-05T00:19:47.273" v="27" actId="6549"/>
        <pc:sldMkLst>
          <pc:docMk/>
          <pc:sldMk cId="2399203213" sldId="408"/>
        </pc:sldMkLst>
        <pc:spChg chg="mod">
          <ac:chgData name="Justin Evans (CE SP)" userId="47353291-c02c-44a9-b576-fcb26b0c3050" providerId="ADAL" clId="{C90F4E39-73EF-4A17-BA8E-4754C8888AE0}" dt="2021-10-05T00:19:47.273" v="27" actId="6549"/>
          <ac:spMkLst>
            <pc:docMk/>
            <pc:sldMk cId="2399203213" sldId="408"/>
            <ac:spMk id="2" creationId="{5338C6D7-95C5-409E-9F00-EA69F550067E}"/>
          </ac:spMkLst>
        </pc:spChg>
      </pc:sldChg>
      <pc:sldChg chg="del">
        <pc:chgData name="Justin Evans (CE SP)" userId="47353291-c02c-44a9-b576-fcb26b0c3050" providerId="ADAL" clId="{C90F4E39-73EF-4A17-BA8E-4754C8888AE0}" dt="2021-10-05T00:19:36.360" v="7" actId="2696"/>
        <pc:sldMkLst>
          <pc:docMk/>
          <pc:sldMk cId="6914788" sldId="418"/>
        </pc:sldMkLst>
      </pc:sldChg>
      <pc:sldChg chg="del">
        <pc:chgData name="Justin Evans (CE SP)" userId="47353291-c02c-44a9-b576-fcb26b0c3050" providerId="ADAL" clId="{C90F4E39-73EF-4A17-BA8E-4754C8888AE0}" dt="2021-09-30T13:43:06.318" v="5" actId="2696"/>
        <pc:sldMkLst>
          <pc:docMk/>
          <pc:sldMk cId="2817666680" sldId="425"/>
        </pc:sldMkLst>
      </pc:sldChg>
      <pc:sldChg chg="del">
        <pc:chgData name="Justin Evans (CE SP)" userId="47353291-c02c-44a9-b576-fcb26b0c3050" providerId="ADAL" clId="{C90F4E39-73EF-4A17-BA8E-4754C8888AE0}" dt="2021-09-30T13:43:18.734" v="6" actId="2696"/>
        <pc:sldMkLst>
          <pc:docMk/>
          <pc:sldMk cId="3486571688" sldId="426"/>
        </pc:sldMkLst>
      </pc:sldChg>
      <pc:sldChg chg="del">
        <pc:chgData name="Justin Evans (CE SP)" userId="47353291-c02c-44a9-b576-fcb26b0c3050" providerId="ADAL" clId="{C90F4E39-73EF-4A17-BA8E-4754C8888AE0}" dt="2021-10-05T00:19:36.360" v="7" actId="2696"/>
        <pc:sldMkLst>
          <pc:docMk/>
          <pc:sldMk cId="3081173804" sldId="1986"/>
        </pc:sldMkLst>
      </pc:sldChg>
      <pc:sldChg chg="del">
        <pc:chgData name="Justin Evans (CE SP)" userId="47353291-c02c-44a9-b576-fcb26b0c3050" providerId="ADAL" clId="{C90F4E39-73EF-4A17-BA8E-4754C8888AE0}" dt="2021-10-05T00:19:36.360" v="7" actId="2696"/>
        <pc:sldMkLst>
          <pc:docMk/>
          <pc:sldMk cId="2397058738" sldId="1987"/>
        </pc:sldMkLst>
      </pc:sldChg>
      <pc:sldChg chg="del">
        <pc:chgData name="Justin Evans (CE SP)" userId="47353291-c02c-44a9-b576-fcb26b0c3050" providerId="ADAL" clId="{C90F4E39-73EF-4A17-BA8E-4754C8888AE0}" dt="2021-10-05T00:19:36.360" v="7" actId="2696"/>
        <pc:sldMkLst>
          <pc:docMk/>
          <pc:sldMk cId="3711151781" sldId="1988"/>
        </pc:sldMkLst>
      </pc:sldChg>
      <pc:sldChg chg="del">
        <pc:chgData name="Justin Evans (CE SP)" userId="47353291-c02c-44a9-b576-fcb26b0c3050" providerId="ADAL" clId="{C90F4E39-73EF-4A17-BA8E-4754C8888AE0}" dt="2021-10-05T00:19:36.360" v="7" actId="2696"/>
        <pc:sldMkLst>
          <pc:docMk/>
          <pc:sldMk cId="829854860" sldId="1992"/>
        </pc:sldMkLst>
      </pc:sldChg>
      <pc:sldChg chg="del">
        <pc:chgData name="Justin Evans (CE SP)" userId="47353291-c02c-44a9-b576-fcb26b0c3050" providerId="ADAL" clId="{C90F4E39-73EF-4A17-BA8E-4754C8888AE0}" dt="2021-09-30T13:43:04.098" v="4" actId="2696"/>
        <pc:sldMkLst>
          <pc:docMk/>
          <pc:sldMk cId="3690323845" sldId="1997"/>
        </pc:sldMkLst>
      </pc:sldChg>
      <pc:sldMasterChg chg="del delSldLayout">
        <pc:chgData name="Justin Evans (CE SP)" userId="47353291-c02c-44a9-b576-fcb26b0c3050" providerId="ADAL" clId="{C90F4E39-73EF-4A17-BA8E-4754C8888AE0}" dt="2021-09-30T13:43:04.098" v="4" actId="2696"/>
        <pc:sldMasterMkLst>
          <pc:docMk/>
          <pc:sldMasterMk cId="3138866671" sldId="2147483990"/>
        </pc:sldMasterMkLst>
        <pc:sldLayoutChg chg="del">
          <pc:chgData name="Justin Evans (CE SP)" userId="47353291-c02c-44a9-b576-fcb26b0c3050" providerId="ADAL" clId="{C90F4E39-73EF-4A17-BA8E-4754C8888AE0}" dt="2021-09-30T13:43:04.098" v="4" actId="2696"/>
          <pc:sldLayoutMkLst>
            <pc:docMk/>
            <pc:sldMasterMk cId="3138866671" sldId="2147483990"/>
            <pc:sldLayoutMk cId="1225445844" sldId="2147483991"/>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2128073608" sldId="2147483992"/>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2611871824" sldId="2147483993"/>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2381726192" sldId="2147483994"/>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3633400075" sldId="2147483995"/>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1025559163" sldId="2147483996"/>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978647275" sldId="2147483997"/>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3116855824" sldId="2147483998"/>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3566546305" sldId="2147483999"/>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1401725589" sldId="2147484000"/>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1716957870" sldId="2147484001"/>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482717613" sldId="2147484002"/>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1508755777" sldId="2147484003"/>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756118918" sldId="2147484004"/>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434779669" sldId="2147484005"/>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3370073269" sldId="2147484006"/>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1641343874" sldId="2147484007"/>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2216216901" sldId="2147484008"/>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3320697965" sldId="2147484009"/>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2881002593" sldId="2147484010"/>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3491582711" sldId="2147484011"/>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526330969" sldId="2147484012"/>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2353817919" sldId="2147484013"/>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2570858718" sldId="2147484014"/>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1130694076" sldId="2147484015"/>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1924444472" sldId="2147484016"/>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3237381773" sldId="2147484017"/>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119041650" sldId="2147484018"/>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1876849995" sldId="2147484019"/>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2442093490" sldId="2147484020"/>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523462488" sldId="2147484021"/>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3912418055" sldId="2147484022"/>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1300962889" sldId="2147484023"/>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2484416189" sldId="2147484024"/>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618353612" sldId="2147484025"/>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1184326568" sldId="2147484026"/>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3795046949" sldId="2147484027"/>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1831624703" sldId="2147484028"/>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3255432458" sldId="2147484029"/>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774246453" sldId="2147484030"/>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1847334346" sldId="2147484031"/>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161492002" sldId="2147484032"/>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349658073" sldId="2147484033"/>
          </pc:sldLayoutMkLst>
        </pc:sldLayoutChg>
        <pc:sldLayoutChg chg="del">
          <pc:chgData name="Justin Evans (CE SP)" userId="47353291-c02c-44a9-b576-fcb26b0c3050" providerId="ADAL" clId="{C90F4E39-73EF-4A17-BA8E-4754C8888AE0}" dt="2021-09-30T13:43:04.098" v="4" actId="2696"/>
          <pc:sldLayoutMkLst>
            <pc:docMk/>
            <pc:sldMasterMk cId="3138866671" sldId="2147483990"/>
            <pc:sldLayoutMk cId="238762808" sldId="2147484034"/>
          </pc:sldLayoutMkLst>
        </pc:sldLayoutChg>
      </pc:sldMasterChg>
      <pc:sldMasterChg chg="delSldLayout">
        <pc:chgData name="Justin Evans (CE SP)" userId="47353291-c02c-44a9-b576-fcb26b0c3050" providerId="ADAL" clId="{C90F4E39-73EF-4A17-BA8E-4754C8888AE0}" dt="2021-10-05T00:19:36.360" v="7" actId="2696"/>
        <pc:sldMasterMkLst>
          <pc:docMk/>
          <pc:sldMasterMk cId="1150004912" sldId="2147484275"/>
        </pc:sldMasterMkLst>
        <pc:sldLayoutChg chg="del">
          <pc:chgData name="Justin Evans (CE SP)" userId="47353291-c02c-44a9-b576-fcb26b0c3050" providerId="ADAL" clId="{C90F4E39-73EF-4A17-BA8E-4754C8888AE0}" dt="2021-10-05T00:19:36.360" v="7" actId="2696"/>
          <pc:sldLayoutMkLst>
            <pc:docMk/>
            <pc:sldMasterMk cId="1150004912" sldId="2147484275"/>
            <pc:sldLayoutMk cId="4136931003" sldId="2147484339"/>
          </pc:sldLayoutMkLst>
        </pc:sldLayoutChg>
      </pc:sldMasterChg>
    </pc:docChg>
  </pc:docChgLst>
  <pc:docChgLst>
    <pc:chgData name="Guest User" providerId="Windows Live" clId="Web-{29E3A4DF-3290-49CE-8F40-A9AFB1A18667}"/>
    <pc:docChg chg="modSld">
      <pc:chgData name="Guest User" userId="" providerId="Windows Live" clId="Web-{29E3A4DF-3290-49CE-8F40-A9AFB1A18667}" dt="2020-08-25T20:46:12.456" v="38" actId="20577"/>
      <pc:docMkLst>
        <pc:docMk/>
      </pc:docMkLst>
      <pc:sldChg chg="modSp">
        <pc:chgData name="Guest User" userId="" providerId="Windows Live" clId="Web-{29E3A4DF-3290-49CE-8F40-A9AFB1A18667}" dt="2020-08-25T20:11:48.178" v="2" actId="20577"/>
        <pc:sldMkLst>
          <pc:docMk/>
          <pc:sldMk cId="6914788" sldId="418"/>
        </pc:sldMkLst>
        <pc:spChg chg="mod">
          <ac:chgData name="Guest User" userId="" providerId="Windows Live" clId="Web-{29E3A4DF-3290-49CE-8F40-A9AFB1A18667}" dt="2020-08-25T20:11:48.178" v="2" actId="20577"/>
          <ac:spMkLst>
            <pc:docMk/>
            <pc:sldMk cId="6914788" sldId="418"/>
            <ac:spMk id="3" creationId="{00000000-0000-0000-0000-000000000000}"/>
          </ac:spMkLst>
        </pc:spChg>
      </pc:sldChg>
      <pc:sldChg chg="modSp">
        <pc:chgData name="Guest User" userId="" providerId="Windows Live" clId="Web-{29E3A4DF-3290-49CE-8F40-A9AFB1A18667}" dt="2020-08-25T20:46:12.394" v="36" actId="20577"/>
        <pc:sldMkLst>
          <pc:docMk/>
          <pc:sldMk cId="3486571688" sldId="426"/>
        </pc:sldMkLst>
        <pc:spChg chg="mod">
          <ac:chgData name="Guest User" userId="" providerId="Windows Live" clId="Web-{29E3A4DF-3290-49CE-8F40-A9AFB1A18667}" dt="2020-08-25T20:46:12.394" v="36" actId="20577"/>
          <ac:spMkLst>
            <pc:docMk/>
            <pc:sldMk cId="3486571688" sldId="426"/>
            <ac:spMk id="2" creationId="{9010681A-0D45-41F6-BE85-00C7915E7027}"/>
          </ac:spMkLst>
        </pc:spChg>
      </pc:sldChg>
      <pc:sldChg chg="modSp">
        <pc:chgData name="Guest User" userId="" providerId="Windows Live" clId="Web-{29E3A4DF-3290-49CE-8F40-A9AFB1A18667}" dt="2020-08-25T20:35:42.153" v="32" actId="20577"/>
        <pc:sldMkLst>
          <pc:docMk/>
          <pc:sldMk cId="1875027611" sldId="1985"/>
        </pc:sldMkLst>
        <pc:spChg chg="mod">
          <ac:chgData name="Guest User" userId="" providerId="Windows Live" clId="Web-{29E3A4DF-3290-49CE-8F40-A9AFB1A18667}" dt="2020-08-25T20:12:20.711" v="6" actId="20577"/>
          <ac:spMkLst>
            <pc:docMk/>
            <pc:sldMk cId="1875027611" sldId="1985"/>
            <ac:spMk id="2" creationId="{BE86EB64-FD4C-459D-B464-A3D329DB8677}"/>
          </ac:spMkLst>
        </pc:spChg>
        <pc:spChg chg="mod">
          <ac:chgData name="Guest User" userId="" providerId="Windows Live" clId="Web-{29E3A4DF-3290-49CE-8F40-A9AFB1A18667}" dt="2020-08-25T20:35:42.153" v="32" actId="20577"/>
          <ac:spMkLst>
            <pc:docMk/>
            <pc:sldMk cId="1875027611" sldId="1985"/>
            <ac:spMk id="3" creationId="{C497D5A6-330C-4DB4-8B38-BFF51F04CBA8}"/>
          </ac:spMkLst>
        </pc:spChg>
      </pc:sldChg>
      <pc:sldChg chg="modSp">
        <pc:chgData name="Guest User" userId="" providerId="Windows Live" clId="Web-{29E3A4DF-3290-49CE-8F40-A9AFB1A18667}" dt="2020-08-25T20:16:49.133" v="17" actId="20577"/>
        <pc:sldMkLst>
          <pc:docMk/>
          <pc:sldMk cId="3081173804" sldId="1986"/>
        </pc:sldMkLst>
        <pc:spChg chg="mod">
          <ac:chgData name="Guest User" userId="" providerId="Windows Live" clId="Web-{29E3A4DF-3290-49CE-8F40-A9AFB1A18667}" dt="2020-08-25T20:11:23.489" v="0" actId="20577"/>
          <ac:spMkLst>
            <pc:docMk/>
            <pc:sldMk cId="3081173804" sldId="1986"/>
            <ac:spMk id="3" creationId="{204B7BCB-9541-4C31-BB2F-5DFD3F6E46A0}"/>
          </ac:spMkLst>
        </pc:spChg>
        <pc:spChg chg="mod">
          <ac:chgData name="Guest User" userId="" providerId="Windows Live" clId="Web-{29E3A4DF-3290-49CE-8F40-A9AFB1A18667}" dt="2020-08-25T20:16:49.133" v="17" actId="20577"/>
          <ac:spMkLst>
            <pc:docMk/>
            <pc:sldMk cId="3081173804" sldId="1986"/>
            <ac:spMk id="7" creationId="{5EB3B185-9895-46BC-9BA5-2EC41D5B7C43}"/>
          </ac:spMkLst>
        </pc:spChg>
      </pc:sldChg>
      <pc:sldChg chg="modSp">
        <pc:chgData name="Guest User" userId="" providerId="Windows Live" clId="Web-{29E3A4DF-3290-49CE-8F40-A9AFB1A18667}" dt="2020-08-25T20:20:16.036" v="27" actId="20577"/>
        <pc:sldMkLst>
          <pc:docMk/>
          <pc:sldMk cId="2397058738" sldId="1987"/>
        </pc:sldMkLst>
        <pc:spChg chg="mod">
          <ac:chgData name="Guest User" userId="" providerId="Windows Live" clId="Web-{29E3A4DF-3290-49CE-8F40-A9AFB1A18667}" dt="2020-08-25T20:11:40.177" v="1" actId="20577"/>
          <ac:spMkLst>
            <pc:docMk/>
            <pc:sldMk cId="2397058738" sldId="1987"/>
            <ac:spMk id="5" creationId="{5C12F6E7-CAD8-420D-8EC9-18B5D66A4AAB}"/>
          </ac:spMkLst>
        </pc:spChg>
        <pc:spChg chg="mod">
          <ac:chgData name="Guest User" userId="" providerId="Windows Live" clId="Web-{29E3A4DF-3290-49CE-8F40-A9AFB1A18667}" dt="2020-08-25T20:20:16.036" v="27" actId="20577"/>
          <ac:spMkLst>
            <pc:docMk/>
            <pc:sldMk cId="2397058738" sldId="1987"/>
            <ac:spMk id="7" creationId="{084F0EE3-70B5-4533-A0A3-C9B4AA06EF1C}"/>
          </ac:spMkLst>
        </pc:spChg>
      </pc:sldChg>
      <pc:sldChg chg="modSp">
        <pc:chgData name="Guest User" userId="" providerId="Windows Live" clId="Web-{29E3A4DF-3290-49CE-8F40-A9AFB1A18667}" dt="2020-08-25T20:11:55.553" v="3" actId="20577"/>
        <pc:sldMkLst>
          <pc:docMk/>
          <pc:sldMk cId="3711151781" sldId="1988"/>
        </pc:sldMkLst>
        <pc:spChg chg="mod">
          <ac:chgData name="Guest User" userId="" providerId="Windows Live" clId="Web-{29E3A4DF-3290-49CE-8F40-A9AFB1A18667}" dt="2020-08-25T20:11:55.553" v="3" actId="20577"/>
          <ac:spMkLst>
            <pc:docMk/>
            <pc:sldMk cId="3711151781" sldId="1988"/>
            <ac:spMk id="3" creationId="{A01C5015-850D-4AB4-BBC4-5CD47E1DB9FE}"/>
          </ac:spMkLst>
        </pc:spChg>
      </pc:sldChg>
      <pc:sldChg chg="modSp">
        <pc:chgData name="Guest User" userId="" providerId="Windows Live" clId="Web-{29E3A4DF-3290-49CE-8F40-A9AFB1A18667}" dt="2020-08-25T20:12:07.022" v="5" actId="20577"/>
        <pc:sldMkLst>
          <pc:docMk/>
          <pc:sldMk cId="4093496454" sldId="1989"/>
        </pc:sldMkLst>
        <pc:spChg chg="mod">
          <ac:chgData name="Guest User" userId="" providerId="Windows Live" clId="Web-{29E3A4DF-3290-49CE-8F40-A9AFB1A18667}" dt="2020-08-25T20:12:07.022" v="5" actId="20577"/>
          <ac:spMkLst>
            <pc:docMk/>
            <pc:sldMk cId="4093496454" sldId="1989"/>
            <ac:spMk id="2" creationId="{00000000-0000-0000-0000-000000000000}"/>
          </ac:spMkLst>
        </pc:spChg>
      </pc:sldChg>
      <pc:sldChg chg="modSp">
        <pc:chgData name="Guest User" userId="" providerId="Windows Live" clId="Web-{29E3A4DF-3290-49CE-8F40-A9AFB1A18667}" dt="2020-08-25T20:12:28.586" v="7" actId="20577"/>
        <pc:sldMkLst>
          <pc:docMk/>
          <pc:sldMk cId="1674848170" sldId="1990"/>
        </pc:sldMkLst>
        <pc:spChg chg="mod">
          <ac:chgData name="Guest User" userId="" providerId="Windows Live" clId="Web-{29E3A4DF-3290-49CE-8F40-A9AFB1A18667}" dt="2020-08-25T20:12:28.586" v="7" actId="20577"/>
          <ac:spMkLst>
            <pc:docMk/>
            <pc:sldMk cId="1674848170" sldId="1990"/>
            <ac:spMk id="2" creationId="{00000000-0000-0000-0000-000000000000}"/>
          </ac:spMkLst>
        </pc:spChg>
      </pc:sldChg>
      <pc:sldChg chg="modSp">
        <pc:chgData name="Guest User" userId="" providerId="Windows Live" clId="Web-{29E3A4DF-3290-49CE-8F40-A9AFB1A18667}" dt="2020-08-25T20:16:25.007" v="13" actId="20577"/>
        <pc:sldMkLst>
          <pc:docMk/>
          <pc:sldMk cId="3851442531" sldId="1991"/>
        </pc:sldMkLst>
        <pc:spChg chg="mod">
          <ac:chgData name="Guest User" userId="" providerId="Windows Live" clId="Web-{29E3A4DF-3290-49CE-8F40-A9AFB1A18667}" dt="2020-08-25T20:12:43.446" v="8" actId="20577"/>
          <ac:spMkLst>
            <pc:docMk/>
            <pc:sldMk cId="3851442531" sldId="1991"/>
            <ac:spMk id="2" creationId="{DF2AF14D-3921-4BE1-AE69-9F95C287E4D8}"/>
          </ac:spMkLst>
        </pc:spChg>
        <pc:spChg chg="mod">
          <ac:chgData name="Guest User" userId="" providerId="Windows Live" clId="Web-{29E3A4DF-3290-49CE-8F40-A9AFB1A18667}" dt="2020-08-25T20:16:25.007" v="13" actId="20577"/>
          <ac:spMkLst>
            <pc:docMk/>
            <pc:sldMk cId="3851442531" sldId="1991"/>
            <ac:spMk id="3" creationId="{3DC10D10-E8DD-447D-9E1B-B50109ECBD94}"/>
          </ac:spMkLst>
        </pc:spChg>
      </pc:sldChg>
    </pc:docChg>
  </pc:docChgLst>
  <pc:docChgLst>
    <pc:chgData name="Rishabh Mathur" userId="S::rimathur@microsoft.com::085a90ad-ff62-452d-9cc6-fb668aecc57d" providerId="AD" clId="Web-{C6DCDE42-18A4-5198-E4A0-D22F9EBCFAE0}"/>
    <pc:docChg chg="modSld">
      <pc:chgData name="Rishabh Mathur" userId="S::rimathur@microsoft.com::085a90ad-ff62-452d-9cc6-fb668aecc57d" providerId="AD" clId="Web-{C6DCDE42-18A4-5198-E4A0-D22F9EBCFAE0}" dt="2020-03-04T17:00:40.759" v="35" actId="20577"/>
      <pc:docMkLst>
        <pc:docMk/>
      </pc:docMkLst>
      <pc:sldChg chg="modSp">
        <pc:chgData name="Rishabh Mathur" userId="S::rimathur@microsoft.com::085a90ad-ff62-452d-9cc6-fb668aecc57d" providerId="AD" clId="Web-{C6DCDE42-18A4-5198-E4A0-D22F9EBCFAE0}" dt="2020-03-04T17:00:40.759" v="34" actId="20577"/>
        <pc:sldMkLst>
          <pc:docMk/>
          <pc:sldMk cId="3486571688" sldId="426"/>
        </pc:sldMkLst>
        <pc:spChg chg="mod">
          <ac:chgData name="Rishabh Mathur" userId="S::rimathur@microsoft.com::085a90ad-ff62-452d-9cc6-fb668aecc57d" providerId="AD" clId="Web-{C6DCDE42-18A4-5198-E4A0-D22F9EBCFAE0}" dt="2020-03-04T17:00:40.759" v="34" actId="20577"/>
          <ac:spMkLst>
            <pc:docMk/>
            <pc:sldMk cId="3486571688" sldId="426"/>
            <ac:spMk id="2" creationId="{9010681A-0D45-41F6-BE85-00C7915E7027}"/>
          </ac:spMkLst>
        </pc:spChg>
      </pc:sldChg>
    </pc:docChg>
  </pc:docChgLst>
  <pc:docChgLst>
    <pc:chgData name="Christopher Weaver" userId="2d47d5c7-389a-4b91-8fc5-dfad12ad20c7" providerId="ADAL" clId="{70018DEB-B5EB-4514-8E8A-62F649186FBA}"/>
    <pc:docChg chg="undo custSel addSld modSld">
      <pc:chgData name="Christopher Weaver" userId="2d47d5c7-389a-4b91-8fc5-dfad12ad20c7" providerId="ADAL" clId="{70018DEB-B5EB-4514-8E8A-62F649186FBA}" dt="2020-01-24T16:41:54.798" v="1075" actId="1076"/>
      <pc:docMkLst>
        <pc:docMk/>
      </pc:docMkLst>
      <pc:sldChg chg="addSp delSp modSp modTransition modNotesTx">
        <pc:chgData name="Christopher Weaver" userId="2d47d5c7-389a-4b91-8fc5-dfad12ad20c7" providerId="ADAL" clId="{70018DEB-B5EB-4514-8E8A-62F649186FBA}" dt="2020-01-23T21:33:38.442" v="326"/>
        <pc:sldMkLst>
          <pc:docMk/>
          <pc:sldMk cId="2744750839" sldId="365"/>
        </pc:sldMkLst>
        <pc:spChg chg="del">
          <ac:chgData name="Christopher Weaver" userId="2d47d5c7-389a-4b91-8fc5-dfad12ad20c7" providerId="ADAL" clId="{70018DEB-B5EB-4514-8E8A-62F649186FBA}" dt="2020-01-23T21:01:20.270" v="73" actId="478"/>
          <ac:spMkLst>
            <pc:docMk/>
            <pc:sldMk cId="2744750839" sldId="365"/>
            <ac:spMk id="16" creationId="{00000000-0000-0000-0000-000000000000}"/>
          </ac:spMkLst>
        </pc:spChg>
        <pc:picChg chg="add del mod">
          <ac:chgData name="Christopher Weaver" userId="2d47d5c7-389a-4b91-8fc5-dfad12ad20c7" providerId="ADAL" clId="{70018DEB-B5EB-4514-8E8A-62F649186FBA}" dt="2020-01-23T21:23:33.249" v="288"/>
          <ac:picMkLst>
            <pc:docMk/>
            <pc:sldMk cId="2744750839" sldId="365"/>
            <ac:picMk id="3" creationId="{0A461339-0DA7-443A-A47F-440AD72A447F}"/>
          </ac:picMkLst>
        </pc:picChg>
        <pc:picChg chg="del">
          <ac:chgData name="Christopher Weaver" userId="2d47d5c7-389a-4b91-8fc5-dfad12ad20c7" providerId="ADAL" clId="{70018DEB-B5EB-4514-8E8A-62F649186FBA}" dt="2020-01-23T21:00:51.175" v="66" actId="478"/>
          <ac:picMkLst>
            <pc:docMk/>
            <pc:sldMk cId="2744750839" sldId="365"/>
            <ac:picMk id="4" creationId="{00000000-0000-0000-0000-000000000000}"/>
          </ac:picMkLst>
        </pc:picChg>
        <pc:picChg chg="add mod">
          <ac:chgData name="Christopher Weaver" userId="2d47d5c7-389a-4b91-8fc5-dfad12ad20c7" providerId="ADAL" clId="{70018DEB-B5EB-4514-8E8A-62F649186FBA}" dt="2020-01-23T21:32:00.744" v="325" actId="14100"/>
          <ac:picMkLst>
            <pc:docMk/>
            <pc:sldMk cId="2744750839" sldId="365"/>
            <ac:picMk id="5" creationId="{BAE5919F-E859-425F-9E22-FEB80E73954F}"/>
          </ac:picMkLst>
        </pc:picChg>
        <pc:cxnChg chg="del">
          <ac:chgData name="Christopher Weaver" userId="2d47d5c7-389a-4b91-8fc5-dfad12ad20c7" providerId="ADAL" clId="{70018DEB-B5EB-4514-8E8A-62F649186FBA}" dt="2020-01-23T21:01:07.176" v="71" actId="478"/>
          <ac:cxnSpMkLst>
            <pc:docMk/>
            <pc:sldMk cId="2744750839" sldId="365"/>
            <ac:cxnSpMk id="8" creationId="{00000000-0000-0000-0000-000000000000}"/>
          </ac:cxnSpMkLst>
        </pc:cxnChg>
        <pc:cxnChg chg="del">
          <ac:chgData name="Christopher Weaver" userId="2d47d5c7-389a-4b91-8fc5-dfad12ad20c7" providerId="ADAL" clId="{70018DEB-B5EB-4514-8E8A-62F649186FBA}" dt="2020-01-23T21:01:04.320" v="70" actId="478"/>
          <ac:cxnSpMkLst>
            <pc:docMk/>
            <pc:sldMk cId="2744750839" sldId="365"/>
            <ac:cxnSpMk id="9" creationId="{00000000-0000-0000-0000-000000000000}"/>
          </ac:cxnSpMkLst>
        </pc:cxnChg>
        <pc:cxnChg chg="del">
          <ac:chgData name="Christopher Weaver" userId="2d47d5c7-389a-4b91-8fc5-dfad12ad20c7" providerId="ADAL" clId="{70018DEB-B5EB-4514-8E8A-62F649186FBA}" dt="2020-01-23T21:01:00.780" v="69" actId="478"/>
          <ac:cxnSpMkLst>
            <pc:docMk/>
            <pc:sldMk cId="2744750839" sldId="365"/>
            <ac:cxnSpMk id="12" creationId="{00000000-0000-0000-0000-000000000000}"/>
          </ac:cxnSpMkLst>
        </pc:cxnChg>
      </pc:sldChg>
      <pc:sldChg chg="addSp delSp modSp modNotesTx">
        <pc:chgData name="Christopher Weaver" userId="2d47d5c7-389a-4b91-8fc5-dfad12ad20c7" providerId="ADAL" clId="{70018DEB-B5EB-4514-8E8A-62F649186FBA}" dt="2020-01-24T16:41:54.798" v="1075" actId="1076"/>
        <pc:sldMkLst>
          <pc:docMk/>
          <pc:sldMk cId="3980266769" sldId="381"/>
        </pc:sldMkLst>
        <pc:spChg chg="mod">
          <ac:chgData name="Christopher Weaver" userId="2d47d5c7-389a-4b91-8fc5-dfad12ad20c7" providerId="ADAL" clId="{70018DEB-B5EB-4514-8E8A-62F649186FBA}" dt="2020-01-24T16:41:54.798" v="1075" actId="1076"/>
          <ac:spMkLst>
            <pc:docMk/>
            <pc:sldMk cId="3980266769" sldId="381"/>
            <ac:spMk id="3" creationId="{00000000-0000-0000-0000-000000000000}"/>
          </ac:spMkLst>
        </pc:spChg>
        <pc:picChg chg="add del mod">
          <ac:chgData name="Christopher Weaver" userId="2d47d5c7-389a-4b91-8fc5-dfad12ad20c7" providerId="ADAL" clId="{70018DEB-B5EB-4514-8E8A-62F649186FBA}" dt="2020-01-24T16:41:38.262" v="1071" actId="478"/>
          <ac:picMkLst>
            <pc:docMk/>
            <pc:sldMk cId="3980266769" sldId="381"/>
            <ac:picMk id="4" creationId="{2449683A-8975-4916-B99E-A934795D43F1}"/>
          </ac:picMkLst>
        </pc:picChg>
        <pc:picChg chg="add mod">
          <ac:chgData name="Christopher Weaver" userId="2d47d5c7-389a-4b91-8fc5-dfad12ad20c7" providerId="ADAL" clId="{70018DEB-B5EB-4514-8E8A-62F649186FBA}" dt="2020-01-24T16:41:48.925" v="1074" actId="14100"/>
          <ac:picMkLst>
            <pc:docMk/>
            <pc:sldMk cId="3980266769" sldId="381"/>
            <ac:picMk id="5" creationId="{44A27E97-26DA-4B85-9B58-5237BBF09A31}"/>
          </ac:picMkLst>
        </pc:picChg>
        <pc:picChg chg="del">
          <ac:chgData name="Christopher Weaver" userId="2d47d5c7-389a-4b91-8fc5-dfad12ad20c7" providerId="ADAL" clId="{70018DEB-B5EB-4514-8E8A-62F649186FBA}" dt="2020-01-24T16:32:15.061" v="965" actId="478"/>
          <ac:picMkLst>
            <pc:docMk/>
            <pc:sldMk cId="3980266769" sldId="381"/>
            <ac:picMk id="6" creationId="{BA860A3D-5660-4B8C-8C1F-67866ABC39F7}"/>
          </ac:picMkLst>
        </pc:picChg>
      </pc:sldChg>
      <pc:sldChg chg="modSp">
        <pc:chgData name="Christopher Weaver" userId="2d47d5c7-389a-4b91-8fc5-dfad12ad20c7" providerId="ADAL" clId="{70018DEB-B5EB-4514-8E8A-62F649186FBA}" dt="2020-01-23T20:43:44.299" v="23" actId="20577"/>
        <pc:sldMkLst>
          <pc:docMk/>
          <pc:sldMk cId="6914788" sldId="418"/>
        </pc:sldMkLst>
        <pc:spChg chg="mod">
          <ac:chgData name="Christopher Weaver" userId="2d47d5c7-389a-4b91-8fc5-dfad12ad20c7" providerId="ADAL" clId="{70018DEB-B5EB-4514-8E8A-62F649186FBA}" dt="2020-01-23T20:43:44.299" v="23" actId="20577"/>
          <ac:spMkLst>
            <pc:docMk/>
            <pc:sldMk cId="6914788" sldId="418"/>
            <ac:spMk id="2" creationId="{C8D1F36B-668C-425E-9C99-F45BD1518015}"/>
          </ac:spMkLst>
        </pc:spChg>
      </pc:sldChg>
      <pc:sldChg chg="addSp delSp modSp">
        <pc:chgData name="Christopher Weaver" userId="2d47d5c7-389a-4b91-8fc5-dfad12ad20c7" providerId="ADAL" clId="{70018DEB-B5EB-4514-8E8A-62F649186FBA}" dt="2020-01-23T20:52:05.455" v="65" actId="1076"/>
        <pc:sldMkLst>
          <pc:docMk/>
          <pc:sldMk cId="369063657" sldId="422"/>
        </pc:sldMkLst>
        <pc:spChg chg="add del mod">
          <ac:chgData name="Christopher Weaver" userId="2d47d5c7-389a-4b91-8fc5-dfad12ad20c7" providerId="ADAL" clId="{70018DEB-B5EB-4514-8E8A-62F649186FBA}" dt="2020-01-23T20:46:23.854" v="38"/>
          <ac:spMkLst>
            <pc:docMk/>
            <pc:sldMk cId="369063657" sldId="422"/>
            <ac:spMk id="2" creationId="{F13AAD11-05E4-4106-AA9B-EB40B5F96C3D}"/>
          </ac:spMkLst>
        </pc:spChg>
        <pc:spChg chg="add del">
          <ac:chgData name="Christopher Weaver" userId="2d47d5c7-389a-4b91-8fc5-dfad12ad20c7" providerId="ADAL" clId="{70018DEB-B5EB-4514-8E8A-62F649186FBA}" dt="2020-01-23T20:48:03.073" v="42" actId="478"/>
          <ac:spMkLst>
            <pc:docMk/>
            <pc:sldMk cId="369063657" sldId="422"/>
            <ac:spMk id="5" creationId="{700BB6FA-712E-4B19-82D8-C93739EA85D5}"/>
          </ac:spMkLst>
        </pc:spChg>
        <pc:graphicFrameChg chg="add del mod">
          <ac:chgData name="Christopher Weaver" userId="2d47d5c7-389a-4b91-8fc5-dfad12ad20c7" providerId="ADAL" clId="{70018DEB-B5EB-4514-8E8A-62F649186FBA}" dt="2020-01-23T20:46:22.311" v="36" actId="1032"/>
          <ac:graphicFrameMkLst>
            <pc:docMk/>
            <pc:sldMk cId="369063657" sldId="422"/>
            <ac:graphicFrameMk id="4" creationId="{AC1BF482-8AB0-46EE-A26A-C8FB3F51B8CD}"/>
          </ac:graphicFrameMkLst>
        </pc:graphicFrameChg>
        <pc:graphicFrameChg chg="add mod">
          <ac:chgData name="Christopher Weaver" userId="2d47d5c7-389a-4b91-8fc5-dfad12ad20c7" providerId="ADAL" clId="{70018DEB-B5EB-4514-8E8A-62F649186FBA}" dt="2020-01-23T20:51:23.773" v="59" actId="14100"/>
          <ac:graphicFrameMkLst>
            <pc:docMk/>
            <pc:sldMk cId="369063657" sldId="422"/>
            <ac:graphicFrameMk id="6" creationId="{BA512329-F769-49E0-9500-453BFFF13D54}"/>
          </ac:graphicFrameMkLst>
        </pc:graphicFrameChg>
        <pc:graphicFrameChg chg="add del mod">
          <ac:chgData name="Christopher Weaver" userId="2d47d5c7-389a-4b91-8fc5-dfad12ad20c7" providerId="ADAL" clId="{70018DEB-B5EB-4514-8E8A-62F649186FBA}" dt="2020-01-23T20:50:09.030" v="50" actId="478"/>
          <ac:graphicFrameMkLst>
            <pc:docMk/>
            <pc:sldMk cId="369063657" sldId="422"/>
            <ac:graphicFrameMk id="7" creationId="{3F1D37B1-3C37-4CA3-9AE5-788A0A264B1E}"/>
          </ac:graphicFrameMkLst>
        </pc:graphicFrameChg>
        <pc:picChg chg="del mod">
          <ac:chgData name="Christopher Weaver" userId="2d47d5c7-389a-4b91-8fc5-dfad12ad20c7" providerId="ADAL" clId="{70018DEB-B5EB-4514-8E8A-62F649186FBA}" dt="2020-01-23T20:47:19.953" v="40"/>
          <ac:picMkLst>
            <pc:docMk/>
            <pc:sldMk cId="369063657" sldId="422"/>
            <ac:picMk id="8" creationId="{988613EC-B64E-46B1-8B80-C3C57F7346F0}"/>
          </ac:picMkLst>
        </pc:picChg>
        <pc:picChg chg="del mod">
          <ac:chgData name="Christopher Weaver" userId="2d47d5c7-389a-4b91-8fc5-dfad12ad20c7" providerId="ADAL" clId="{70018DEB-B5EB-4514-8E8A-62F649186FBA}" dt="2020-01-23T20:47:36.767" v="41"/>
          <ac:picMkLst>
            <pc:docMk/>
            <pc:sldMk cId="369063657" sldId="422"/>
            <ac:picMk id="9" creationId="{00E2B6D8-37A1-4983-86D0-17A46A4B11ED}"/>
          </ac:picMkLst>
        </pc:picChg>
        <pc:picChg chg="add mod">
          <ac:chgData name="Christopher Weaver" userId="2d47d5c7-389a-4b91-8fc5-dfad12ad20c7" providerId="ADAL" clId="{70018DEB-B5EB-4514-8E8A-62F649186FBA}" dt="2020-01-23T20:51:45.412" v="61" actId="1076"/>
          <ac:picMkLst>
            <pc:docMk/>
            <pc:sldMk cId="369063657" sldId="422"/>
            <ac:picMk id="11" creationId="{988613EC-B64E-46B1-8B80-C3C57F7346F0}"/>
          </ac:picMkLst>
        </pc:picChg>
        <pc:picChg chg="add mod">
          <ac:chgData name="Christopher Weaver" userId="2d47d5c7-389a-4b91-8fc5-dfad12ad20c7" providerId="ADAL" clId="{70018DEB-B5EB-4514-8E8A-62F649186FBA}" dt="2020-01-23T20:52:05.455" v="65" actId="1076"/>
          <ac:picMkLst>
            <pc:docMk/>
            <pc:sldMk cId="369063657" sldId="422"/>
            <ac:picMk id="12" creationId="{00E2B6D8-37A1-4983-86D0-17A46A4B11ED}"/>
          </ac:picMkLst>
        </pc:picChg>
      </pc:sldChg>
      <pc:sldChg chg="addSp modSp add modNotesTx">
        <pc:chgData name="Christopher Weaver" userId="2d47d5c7-389a-4b91-8fc5-dfad12ad20c7" providerId="ADAL" clId="{70018DEB-B5EB-4514-8E8A-62F649186FBA}" dt="2020-01-24T16:20:36.864" v="964" actId="20577"/>
        <pc:sldMkLst>
          <pc:docMk/>
          <pc:sldMk cId="1875027611" sldId="1985"/>
        </pc:sldMkLst>
        <pc:spChg chg="mod">
          <ac:chgData name="Christopher Weaver" userId="2d47d5c7-389a-4b91-8fc5-dfad12ad20c7" providerId="ADAL" clId="{70018DEB-B5EB-4514-8E8A-62F649186FBA}" dt="2020-01-24T15:57:04.197" v="665" actId="20577"/>
          <ac:spMkLst>
            <pc:docMk/>
            <pc:sldMk cId="1875027611" sldId="1985"/>
            <ac:spMk id="2" creationId="{BE86EB64-FD4C-459D-B464-A3D329DB8677}"/>
          </ac:spMkLst>
        </pc:spChg>
        <pc:spChg chg="mod">
          <ac:chgData name="Christopher Weaver" userId="2d47d5c7-389a-4b91-8fc5-dfad12ad20c7" providerId="ADAL" clId="{70018DEB-B5EB-4514-8E8A-62F649186FBA}" dt="2020-01-23T21:24:25.883" v="321" actId="14100"/>
          <ac:spMkLst>
            <pc:docMk/>
            <pc:sldMk cId="1875027611" sldId="1985"/>
            <ac:spMk id="3" creationId="{C497D5A6-330C-4DB4-8B38-BFF51F04CBA8}"/>
          </ac:spMkLst>
        </pc:spChg>
        <pc:spChg chg="add mod">
          <ac:chgData name="Christopher Weaver" userId="2d47d5c7-389a-4b91-8fc5-dfad12ad20c7" providerId="ADAL" clId="{70018DEB-B5EB-4514-8E8A-62F649186FBA}" dt="2020-01-24T16:18:06.287" v="963" actId="20577"/>
          <ac:spMkLst>
            <pc:docMk/>
            <pc:sldMk cId="1875027611" sldId="1985"/>
            <ac:spMk id="5" creationId="{920DB69D-009B-419C-9C46-0C582BAEAD46}"/>
          </ac:spMkLst>
        </pc:spChg>
        <pc:picChg chg="add mod">
          <ac:chgData name="Christopher Weaver" userId="2d47d5c7-389a-4b91-8fc5-dfad12ad20c7" providerId="ADAL" clId="{70018DEB-B5EB-4514-8E8A-62F649186FBA}" dt="2020-01-24T16:03:55.414" v="685" actId="1076"/>
          <ac:picMkLst>
            <pc:docMk/>
            <pc:sldMk cId="1875027611" sldId="1985"/>
            <ac:picMk id="4" creationId="{5E05FA83-2065-446A-BD86-446CEBA54DED}"/>
          </ac:picMkLst>
        </pc:picChg>
      </pc:sldChg>
    </pc:docChg>
  </pc:docChgLst>
  <pc:docChgLst>
    <pc:chgData name="Alison Yeh" userId="S::alye@microsoft.com::86d98d7c-5861-42c0-9426-3e74a9b3ea79" providerId="AD" clId="Web-{D621B16D-0EB6-BD8F-5066-B0883D5666EA}"/>
    <pc:docChg chg="modSld">
      <pc:chgData name="Alison Yeh" userId="S::alye@microsoft.com::86d98d7c-5861-42c0-9426-3e74a9b3ea79" providerId="AD" clId="Web-{D621B16D-0EB6-BD8F-5066-B0883D5666EA}" dt="2020-11-03T02:10:52.389" v="6" actId="20577"/>
      <pc:docMkLst>
        <pc:docMk/>
      </pc:docMkLst>
      <pc:sldChg chg="modSp">
        <pc:chgData name="Alison Yeh" userId="S::alye@microsoft.com::86d98d7c-5861-42c0-9426-3e74a9b3ea79" providerId="AD" clId="Web-{D621B16D-0EB6-BD8F-5066-B0883D5666EA}" dt="2020-11-03T02:10:52.389" v="6" actId="20577"/>
        <pc:sldMkLst>
          <pc:docMk/>
          <pc:sldMk cId="616292797" sldId="406"/>
        </pc:sldMkLst>
        <pc:spChg chg="mod">
          <ac:chgData name="Alison Yeh" userId="S::alye@microsoft.com::86d98d7c-5861-42c0-9426-3e74a9b3ea79" providerId="AD" clId="Web-{D621B16D-0EB6-BD8F-5066-B0883D5666EA}" dt="2020-11-03T02:10:52.389" v="6" actId="20577"/>
          <ac:spMkLst>
            <pc:docMk/>
            <pc:sldMk cId="616292797" sldId="406"/>
            <ac:spMk id="2" creationId="{00000000-0000-0000-0000-000000000000}"/>
          </ac:spMkLst>
        </pc:spChg>
      </pc:sldChg>
    </pc:docChg>
  </pc:docChgLst>
  <pc:docChgLst>
    <pc:chgData name="Nick Miller (PFE)" userId="afe30545-da51-4cda-82da-aebfb9951a6d" providerId="ADAL" clId="{AFF691D0-B434-420D-AC93-558A55AAA96C}"/>
    <pc:docChg chg="modSld">
      <pc:chgData name="Nick Miller (PFE)" userId="afe30545-da51-4cda-82da-aebfb9951a6d" providerId="ADAL" clId="{AFF691D0-B434-420D-AC93-558A55AAA96C}" dt="2020-03-27T20:07:53.342" v="33" actId="20577"/>
      <pc:docMkLst>
        <pc:docMk/>
      </pc:docMkLst>
      <pc:sldChg chg="modSp mod">
        <pc:chgData name="Nick Miller (PFE)" userId="afe30545-da51-4cda-82da-aebfb9951a6d" providerId="ADAL" clId="{AFF691D0-B434-420D-AC93-558A55AAA96C}" dt="2020-03-27T18:37:28.015" v="28" actId="255"/>
        <pc:sldMkLst>
          <pc:docMk/>
          <pc:sldMk cId="616292797" sldId="406"/>
        </pc:sldMkLst>
        <pc:spChg chg="mod">
          <ac:chgData name="Nick Miller (PFE)" userId="afe30545-da51-4cda-82da-aebfb9951a6d" providerId="ADAL" clId="{AFF691D0-B434-420D-AC93-558A55AAA96C}" dt="2020-03-27T18:37:28.015" v="28" actId="255"/>
          <ac:spMkLst>
            <pc:docMk/>
            <pc:sldMk cId="616292797" sldId="406"/>
            <ac:spMk id="2" creationId="{00000000-0000-0000-0000-000000000000}"/>
          </ac:spMkLst>
        </pc:spChg>
      </pc:sldChg>
      <pc:sldChg chg="modSp">
        <pc:chgData name="Nick Miller (PFE)" userId="afe30545-da51-4cda-82da-aebfb9951a6d" providerId="ADAL" clId="{AFF691D0-B434-420D-AC93-558A55AAA96C}" dt="2020-03-27T20:07:53.342" v="33" actId="20577"/>
        <pc:sldMkLst>
          <pc:docMk/>
          <pc:sldMk cId="3486571688" sldId="426"/>
        </pc:sldMkLst>
        <pc:spChg chg="mod">
          <ac:chgData name="Nick Miller (PFE)" userId="afe30545-da51-4cda-82da-aebfb9951a6d" providerId="ADAL" clId="{AFF691D0-B434-420D-AC93-558A55AAA96C}" dt="2020-03-27T20:07:53.342" v="33" actId="20577"/>
          <ac:spMkLst>
            <pc:docMk/>
            <pc:sldMk cId="3486571688" sldId="426"/>
            <ac:spMk id="2" creationId="{9010681A-0D45-41F6-BE85-00C7915E7027}"/>
          </ac:spMkLst>
        </pc:spChg>
      </pc:sldChg>
      <pc:sldChg chg="modSp mod">
        <pc:chgData name="Nick Miller (PFE)" userId="afe30545-da51-4cda-82da-aebfb9951a6d" providerId="ADAL" clId="{AFF691D0-B434-420D-AC93-558A55AAA96C}" dt="2020-03-27T19:25:11.347" v="30" actId="14100"/>
        <pc:sldMkLst>
          <pc:docMk/>
          <pc:sldMk cId="1875027611" sldId="1985"/>
        </pc:sldMkLst>
        <pc:spChg chg="mod">
          <ac:chgData name="Nick Miller (PFE)" userId="afe30545-da51-4cda-82da-aebfb9951a6d" providerId="ADAL" clId="{AFF691D0-B434-420D-AC93-558A55AAA96C}" dt="2020-03-27T19:25:11.347" v="30" actId="14100"/>
          <ac:spMkLst>
            <pc:docMk/>
            <pc:sldMk cId="1875027611" sldId="1985"/>
            <ac:spMk id="3" creationId="{C497D5A6-330C-4DB4-8B38-BFF51F04CBA8}"/>
          </ac:spMkLst>
        </pc:spChg>
      </pc:sldChg>
    </pc:docChg>
  </pc:docChgLst>
  <pc:docChgLst>
    <pc:chgData name="Guest User" providerId="Windows Live" clId="Web-{D8247959-2A5B-4428-AB9D-6B50488F357C}"/>
    <pc:docChg chg="addSld modSld modSection">
      <pc:chgData name="Guest User" userId="" providerId="Windows Live" clId="Web-{D8247959-2A5B-4428-AB9D-6B50488F357C}" dt="2020-08-24T23:45:22.617" v="1"/>
      <pc:docMkLst>
        <pc:docMk/>
      </pc:docMkLst>
      <pc:sldChg chg="modSp">
        <pc:chgData name="Guest User" userId="" providerId="Windows Live" clId="Web-{D8247959-2A5B-4428-AB9D-6B50488F357C}" dt="2020-08-24T23:11:48.929" v="0"/>
        <pc:sldMkLst>
          <pc:docMk/>
          <pc:sldMk cId="616292797" sldId="406"/>
        </pc:sldMkLst>
        <pc:spChg chg="mod">
          <ac:chgData name="Guest User" userId="" providerId="Windows Live" clId="Web-{D8247959-2A5B-4428-AB9D-6B50488F357C}" dt="2020-08-24T23:11:48.929" v="0"/>
          <ac:spMkLst>
            <pc:docMk/>
            <pc:sldMk cId="616292797" sldId="406"/>
            <ac:spMk id="2" creationId="{00000000-0000-0000-0000-000000000000}"/>
          </ac:spMkLst>
        </pc:spChg>
      </pc:sldChg>
      <pc:sldChg chg="new">
        <pc:chgData name="Guest User" userId="" providerId="Windows Live" clId="Web-{D8247959-2A5B-4428-AB9D-6B50488F357C}" dt="2020-08-24T23:45:22.617" v="1"/>
        <pc:sldMkLst>
          <pc:docMk/>
          <pc:sldMk cId="404508634" sldId="1998"/>
        </pc:sldMkLst>
      </pc:sldChg>
    </pc:docChg>
  </pc:docChgLst>
  <pc:docChgLst>
    <pc:chgData name="Christopher Weaver" userId="S::christwe@microsoft.com::2d47d5c7-389a-4b91-8fc5-dfad12ad20c7" providerId="AD" clId="Web-{539E1527-A88C-143B-EC43-DC6216440982}"/>
    <pc:docChg chg="modSld">
      <pc:chgData name="Christopher Weaver" userId="S::christwe@microsoft.com::2d47d5c7-389a-4b91-8fc5-dfad12ad20c7" providerId="AD" clId="Web-{539E1527-A88C-143B-EC43-DC6216440982}" dt="2020-01-28T15:38:46.949" v="5" actId="20577"/>
      <pc:docMkLst>
        <pc:docMk/>
      </pc:docMkLst>
      <pc:sldChg chg="modSp">
        <pc:chgData name="Christopher Weaver" userId="S::christwe@microsoft.com::2d47d5c7-389a-4b91-8fc5-dfad12ad20c7" providerId="AD" clId="Web-{539E1527-A88C-143B-EC43-DC6216440982}" dt="2020-01-28T15:38:46.949" v="4" actId="20577"/>
        <pc:sldMkLst>
          <pc:docMk/>
          <pc:sldMk cId="1875027611" sldId="1985"/>
        </pc:sldMkLst>
        <pc:spChg chg="mod">
          <ac:chgData name="Christopher Weaver" userId="S::christwe@microsoft.com::2d47d5c7-389a-4b91-8fc5-dfad12ad20c7" providerId="AD" clId="Web-{539E1527-A88C-143B-EC43-DC6216440982}" dt="2020-01-28T15:38:46.949" v="4" actId="20577"/>
          <ac:spMkLst>
            <pc:docMk/>
            <pc:sldMk cId="1875027611" sldId="1985"/>
            <ac:spMk id="5" creationId="{920DB69D-009B-419C-9C46-0C582BAEAD46}"/>
          </ac:spMkLst>
        </pc:spChg>
      </pc:sldChg>
    </pc:docChg>
  </pc:docChgLst>
  <pc:docChgLst>
    <pc:chgData name="Christopher Weaver" userId="2d47d5c7-389a-4b91-8fc5-dfad12ad20c7" providerId="ADAL" clId="{D16AF3FA-45AE-48D8-9E49-416D77F43661}"/>
    <pc:docChg chg="custSel addSld delSld modSld sldOrd">
      <pc:chgData name="Christopher Weaver" userId="2d47d5c7-389a-4b91-8fc5-dfad12ad20c7" providerId="ADAL" clId="{D16AF3FA-45AE-48D8-9E49-416D77F43661}" dt="2019-05-08T14:53:03.189" v="726" actId="20577"/>
      <pc:docMkLst>
        <pc:docMk/>
      </pc:docMkLst>
      <pc:sldChg chg="ord modNotesTx">
        <pc:chgData name="Christopher Weaver" userId="2d47d5c7-389a-4b91-8fc5-dfad12ad20c7" providerId="ADAL" clId="{D16AF3FA-45AE-48D8-9E49-416D77F43661}" dt="2019-05-03T17:48:22.288" v="102" actId="20577"/>
        <pc:sldMkLst>
          <pc:docMk/>
          <pc:sldMk cId="2744750839" sldId="365"/>
        </pc:sldMkLst>
      </pc:sldChg>
      <pc:sldChg chg="addSp delSp modSp">
        <pc:chgData name="Christopher Weaver" userId="2d47d5c7-389a-4b91-8fc5-dfad12ad20c7" providerId="ADAL" clId="{D16AF3FA-45AE-48D8-9E49-416D77F43661}" dt="2019-05-03T18:13:05.252" v="311" actId="14100"/>
        <pc:sldMkLst>
          <pc:docMk/>
          <pc:sldMk cId="3980266769" sldId="381"/>
        </pc:sldMkLst>
        <pc:spChg chg="mod">
          <ac:chgData name="Christopher Weaver" userId="2d47d5c7-389a-4b91-8fc5-dfad12ad20c7" providerId="ADAL" clId="{D16AF3FA-45AE-48D8-9E49-416D77F43661}" dt="2019-04-30T19:24:12.013" v="56" actId="14100"/>
          <ac:spMkLst>
            <pc:docMk/>
            <pc:sldMk cId="3980266769" sldId="381"/>
            <ac:spMk id="3" creationId="{00000000-0000-0000-0000-000000000000}"/>
          </ac:spMkLst>
        </pc:spChg>
        <pc:picChg chg="add del mod">
          <ac:chgData name="Christopher Weaver" userId="2d47d5c7-389a-4b91-8fc5-dfad12ad20c7" providerId="ADAL" clId="{D16AF3FA-45AE-48D8-9E49-416D77F43661}" dt="2019-05-03T18:01:25.433" v="107" actId="478"/>
          <ac:picMkLst>
            <pc:docMk/>
            <pc:sldMk cId="3980266769" sldId="381"/>
            <ac:picMk id="4" creationId="{E21497F1-CB16-4E2E-98E3-9ABADA9451FA}"/>
          </ac:picMkLst>
        </pc:picChg>
        <pc:picChg chg="add del mod">
          <ac:chgData name="Christopher Weaver" userId="2d47d5c7-389a-4b91-8fc5-dfad12ad20c7" providerId="ADAL" clId="{D16AF3FA-45AE-48D8-9E49-416D77F43661}" dt="2019-05-03T18:03:58.443" v="114"/>
          <ac:picMkLst>
            <pc:docMk/>
            <pc:sldMk cId="3980266769" sldId="381"/>
            <ac:picMk id="5" creationId="{3B2753A8-0390-4536-AF09-2369126F4154}"/>
          </ac:picMkLst>
        </pc:picChg>
        <pc:picChg chg="add mod">
          <ac:chgData name="Christopher Weaver" userId="2d47d5c7-389a-4b91-8fc5-dfad12ad20c7" providerId="ADAL" clId="{D16AF3FA-45AE-48D8-9E49-416D77F43661}" dt="2019-05-03T18:13:05.252" v="311" actId="14100"/>
          <ac:picMkLst>
            <pc:docMk/>
            <pc:sldMk cId="3980266769" sldId="381"/>
            <ac:picMk id="6" creationId="{BA860A3D-5660-4B8C-8C1F-67866ABC39F7}"/>
          </ac:picMkLst>
        </pc:picChg>
      </pc:sldChg>
      <pc:sldChg chg="modSp">
        <pc:chgData name="Christopher Weaver" userId="2d47d5c7-389a-4b91-8fc5-dfad12ad20c7" providerId="ADAL" clId="{D16AF3FA-45AE-48D8-9E49-416D77F43661}" dt="2019-05-03T18:21:34.472" v="434" actId="255"/>
        <pc:sldMkLst>
          <pc:docMk/>
          <pc:sldMk cId="616292797" sldId="406"/>
        </pc:sldMkLst>
        <pc:spChg chg="mod">
          <ac:chgData name="Christopher Weaver" userId="2d47d5c7-389a-4b91-8fc5-dfad12ad20c7" providerId="ADAL" clId="{D16AF3FA-45AE-48D8-9E49-416D77F43661}" dt="2019-05-03T18:21:34.472" v="434" actId="255"/>
          <ac:spMkLst>
            <pc:docMk/>
            <pc:sldMk cId="616292797" sldId="406"/>
            <ac:spMk id="2" creationId="{00000000-0000-0000-0000-000000000000}"/>
          </ac:spMkLst>
        </pc:spChg>
      </pc:sldChg>
      <pc:sldChg chg="modSp">
        <pc:chgData name="Christopher Weaver" userId="2d47d5c7-389a-4b91-8fc5-dfad12ad20c7" providerId="ADAL" clId="{D16AF3FA-45AE-48D8-9E49-416D77F43661}" dt="2019-05-08T14:52:50.295" v="712" actId="20577"/>
        <pc:sldMkLst>
          <pc:docMk/>
          <pc:sldMk cId="2399203213" sldId="408"/>
        </pc:sldMkLst>
        <pc:spChg chg="mod">
          <ac:chgData name="Christopher Weaver" userId="2d47d5c7-389a-4b91-8fc5-dfad12ad20c7" providerId="ADAL" clId="{D16AF3FA-45AE-48D8-9E49-416D77F43661}" dt="2019-05-08T14:52:50.295" v="712" actId="20577"/>
          <ac:spMkLst>
            <pc:docMk/>
            <pc:sldMk cId="2399203213" sldId="408"/>
            <ac:spMk id="2" creationId="{5338C6D7-95C5-409E-9F00-EA69F550067E}"/>
          </ac:spMkLst>
        </pc:spChg>
        <pc:spChg chg="mod">
          <ac:chgData name="Christopher Weaver" userId="2d47d5c7-389a-4b91-8fc5-dfad12ad20c7" providerId="ADAL" clId="{D16AF3FA-45AE-48D8-9E49-416D77F43661}" dt="2019-05-08T14:42:31.575" v="694" actId="20577"/>
          <ac:spMkLst>
            <pc:docMk/>
            <pc:sldMk cId="2399203213" sldId="408"/>
            <ac:spMk id="3" creationId="{00000000-0000-0000-0000-000000000000}"/>
          </ac:spMkLst>
        </pc:spChg>
      </pc:sldChg>
      <pc:sldChg chg="modSp">
        <pc:chgData name="Christopher Weaver" userId="2d47d5c7-389a-4b91-8fc5-dfad12ad20c7" providerId="ADAL" clId="{D16AF3FA-45AE-48D8-9E49-416D77F43661}" dt="2019-05-03T18:19:04.405" v="406" actId="14"/>
        <pc:sldMkLst>
          <pc:docMk/>
          <pc:sldMk cId="6914788" sldId="418"/>
        </pc:sldMkLst>
        <pc:spChg chg="mod">
          <ac:chgData name="Christopher Weaver" userId="2d47d5c7-389a-4b91-8fc5-dfad12ad20c7" providerId="ADAL" clId="{D16AF3FA-45AE-48D8-9E49-416D77F43661}" dt="2019-05-03T18:19:04.405" v="406" actId="14"/>
          <ac:spMkLst>
            <pc:docMk/>
            <pc:sldMk cId="6914788" sldId="418"/>
            <ac:spMk id="2" creationId="{C8D1F36B-668C-425E-9C99-F45BD1518015}"/>
          </ac:spMkLst>
        </pc:spChg>
        <pc:spChg chg="mod">
          <ac:chgData name="Christopher Weaver" userId="2d47d5c7-389a-4b91-8fc5-dfad12ad20c7" providerId="ADAL" clId="{D16AF3FA-45AE-48D8-9E49-416D77F43661}" dt="2019-05-03T18:18:55.585" v="404" actId="20577"/>
          <ac:spMkLst>
            <pc:docMk/>
            <pc:sldMk cId="6914788" sldId="418"/>
            <ac:spMk id="3" creationId="{00000000-0000-0000-0000-000000000000}"/>
          </ac:spMkLst>
        </pc:spChg>
      </pc:sldChg>
      <pc:sldChg chg="modSp ord">
        <pc:chgData name="Christopher Weaver" userId="2d47d5c7-389a-4b91-8fc5-dfad12ad20c7" providerId="ADAL" clId="{D16AF3FA-45AE-48D8-9E49-416D77F43661}" dt="2019-05-03T18:17:20.682" v="383" actId="6549"/>
        <pc:sldMkLst>
          <pc:docMk/>
          <pc:sldMk cId="369063657" sldId="422"/>
        </pc:sldMkLst>
        <pc:spChg chg="mod">
          <ac:chgData name="Christopher Weaver" userId="2d47d5c7-389a-4b91-8fc5-dfad12ad20c7" providerId="ADAL" clId="{D16AF3FA-45AE-48D8-9E49-416D77F43661}" dt="2019-05-03T18:17:20.682" v="383" actId="6549"/>
          <ac:spMkLst>
            <pc:docMk/>
            <pc:sldMk cId="369063657" sldId="422"/>
            <ac:spMk id="3" creationId="{A01C5015-850D-4AB4-BBC4-5CD47E1DB9FE}"/>
          </ac:spMkLst>
        </pc:spChg>
      </pc:sldChg>
      <pc:sldChg chg="modSp del ord modTransition">
        <pc:chgData name="Christopher Weaver" userId="2d47d5c7-389a-4b91-8fc5-dfad12ad20c7" providerId="ADAL" clId="{D16AF3FA-45AE-48D8-9E49-416D77F43661}" dt="2019-05-08T14:51:34.560" v="698" actId="2696"/>
        <pc:sldMkLst>
          <pc:docMk/>
          <pc:sldMk cId="1323131104" sldId="423"/>
        </pc:sldMkLst>
        <pc:spChg chg="mod">
          <ac:chgData name="Christopher Weaver" userId="2d47d5c7-389a-4b91-8fc5-dfad12ad20c7" providerId="ADAL" clId="{D16AF3FA-45AE-48D8-9E49-416D77F43661}" dt="2019-05-04T03:05:06.181" v="482" actId="20577"/>
          <ac:spMkLst>
            <pc:docMk/>
            <pc:sldMk cId="1323131104" sldId="423"/>
            <ac:spMk id="2" creationId="{00000000-0000-0000-0000-000000000000}"/>
          </ac:spMkLst>
        </pc:spChg>
        <pc:spChg chg="mod">
          <ac:chgData name="Christopher Weaver" userId="2d47d5c7-389a-4b91-8fc5-dfad12ad20c7" providerId="ADAL" clId="{D16AF3FA-45AE-48D8-9E49-416D77F43661}" dt="2019-05-04T03:06:29.510" v="647" actId="20577"/>
          <ac:spMkLst>
            <pc:docMk/>
            <pc:sldMk cId="1323131104" sldId="423"/>
            <ac:spMk id="4" creationId="{00000000-0000-0000-0000-000000000000}"/>
          </ac:spMkLst>
        </pc:spChg>
      </pc:sldChg>
      <pc:sldChg chg="modTransition">
        <pc:chgData name="Christopher Weaver" userId="2d47d5c7-389a-4b91-8fc5-dfad12ad20c7" providerId="ADAL" clId="{D16AF3FA-45AE-48D8-9E49-416D77F43661}" dt="2019-04-30T18:32:43.522" v="0"/>
        <pc:sldMkLst>
          <pc:docMk/>
          <pc:sldMk cId="2817666680" sldId="425"/>
        </pc:sldMkLst>
      </pc:sldChg>
      <pc:sldChg chg="modSp modAnim">
        <pc:chgData name="Christopher Weaver" userId="2d47d5c7-389a-4b91-8fc5-dfad12ad20c7" providerId="ADAL" clId="{D16AF3FA-45AE-48D8-9E49-416D77F43661}" dt="2019-05-03T18:14:26.085" v="312" actId="313"/>
        <pc:sldMkLst>
          <pc:docMk/>
          <pc:sldMk cId="3486571688" sldId="426"/>
        </pc:sldMkLst>
        <pc:spChg chg="mod">
          <ac:chgData name="Christopher Weaver" userId="2d47d5c7-389a-4b91-8fc5-dfad12ad20c7" providerId="ADAL" clId="{D16AF3FA-45AE-48D8-9E49-416D77F43661}" dt="2019-05-03T18:14:26.085" v="312" actId="313"/>
          <ac:spMkLst>
            <pc:docMk/>
            <pc:sldMk cId="3486571688" sldId="426"/>
            <ac:spMk id="2" creationId="{9010681A-0D45-41F6-BE85-00C7915E7027}"/>
          </ac:spMkLst>
        </pc:spChg>
      </pc:sldChg>
      <pc:sldChg chg="modSp">
        <pc:chgData name="Christopher Weaver" userId="2d47d5c7-389a-4b91-8fc5-dfad12ad20c7" providerId="ADAL" clId="{D16AF3FA-45AE-48D8-9E49-416D77F43661}" dt="2019-05-08T14:53:03.189" v="726" actId="20577"/>
        <pc:sldMkLst>
          <pc:docMk/>
          <pc:sldMk cId="2004653973" sldId="427"/>
        </pc:sldMkLst>
        <pc:spChg chg="mod">
          <ac:chgData name="Christopher Weaver" userId="2d47d5c7-389a-4b91-8fc5-dfad12ad20c7" providerId="ADAL" clId="{D16AF3FA-45AE-48D8-9E49-416D77F43661}" dt="2019-05-08T14:53:03.189" v="726" actId="20577"/>
          <ac:spMkLst>
            <pc:docMk/>
            <pc:sldMk cId="2004653973" sldId="427"/>
            <ac:spMk id="2" creationId="{25598909-3B90-499E-8CA4-0A9CCE082183}"/>
          </ac:spMkLst>
        </pc:spChg>
      </pc:sldChg>
      <pc:sldChg chg="modSp del modTransition modNotesTx">
        <pc:chgData name="Christopher Weaver" userId="2d47d5c7-389a-4b91-8fc5-dfad12ad20c7" providerId="ADAL" clId="{D16AF3FA-45AE-48D8-9E49-416D77F43661}" dt="2019-05-08T14:37:30.274" v="657" actId="2696"/>
        <pc:sldMkLst>
          <pc:docMk/>
          <pc:sldMk cId="2258079420" sldId="1982"/>
        </pc:sldMkLst>
        <pc:spChg chg="mod">
          <ac:chgData name="Christopher Weaver" userId="2d47d5c7-389a-4b91-8fc5-dfad12ad20c7" providerId="ADAL" clId="{D16AF3FA-45AE-48D8-9E49-416D77F43661}" dt="2019-05-03T18:17:53.386" v="390" actId="20577"/>
          <ac:spMkLst>
            <pc:docMk/>
            <pc:sldMk cId="2258079420" sldId="1982"/>
            <ac:spMk id="2" creationId="{00000000-0000-0000-0000-000000000000}"/>
          </ac:spMkLst>
        </pc:spChg>
      </pc:sldChg>
      <pc:sldChg chg="addSp modSp add">
        <pc:chgData name="Christopher Weaver" userId="2d47d5c7-389a-4b91-8fc5-dfad12ad20c7" providerId="ADAL" clId="{D16AF3FA-45AE-48D8-9E49-416D77F43661}" dt="2019-05-03T18:04:07.911" v="117" actId="14100"/>
        <pc:sldMkLst>
          <pc:docMk/>
          <pc:sldMk cId="278901877" sldId="1983"/>
        </pc:sldMkLst>
        <pc:spChg chg="mod">
          <ac:chgData name="Christopher Weaver" userId="2d47d5c7-389a-4b91-8fc5-dfad12ad20c7" providerId="ADAL" clId="{D16AF3FA-45AE-48D8-9E49-416D77F43661}" dt="2019-04-30T19:04:30" v="50" actId="20577"/>
          <ac:spMkLst>
            <pc:docMk/>
            <pc:sldMk cId="278901877" sldId="1983"/>
            <ac:spMk id="2" creationId="{DF2AF14D-3921-4BE1-AE69-9F95C287E4D8}"/>
          </ac:spMkLst>
        </pc:spChg>
        <pc:spChg chg="mod">
          <ac:chgData name="Christopher Weaver" userId="2d47d5c7-389a-4b91-8fc5-dfad12ad20c7" providerId="ADAL" clId="{D16AF3FA-45AE-48D8-9E49-416D77F43661}" dt="2019-04-30T19:23:52.525" v="54" actId="14100"/>
          <ac:spMkLst>
            <pc:docMk/>
            <pc:sldMk cId="278901877" sldId="1983"/>
            <ac:spMk id="3" creationId="{3DC10D10-E8DD-447D-9E1B-B50109ECBD94}"/>
          </ac:spMkLst>
        </pc:spChg>
        <pc:picChg chg="add mod">
          <ac:chgData name="Christopher Weaver" userId="2d47d5c7-389a-4b91-8fc5-dfad12ad20c7" providerId="ADAL" clId="{D16AF3FA-45AE-48D8-9E49-416D77F43661}" dt="2019-05-03T18:04:07.911" v="117" actId="14100"/>
          <ac:picMkLst>
            <pc:docMk/>
            <pc:sldMk cId="278901877" sldId="1983"/>
            <ac:picMk id="4" creationId="{E1C51160-1465-46DC-9301-9D5B55CA1644}"/>
          </ac:picMkLst>
        </pc:picChg>
      </pc:sldChg>
      <pc:sldChg chg="modSp">
        <pc:chgData name="Christopher Weaver" userId="2d47d5c7-389a-4b91-8fc5-dfad12ad20c7" providerId="ADAL" clId="{D16AF3FA-45AE-48D8-9E49-416D77F43661}" dt="2019-05-07T18:17:30.430" v="656" actId="1076"/>
        <pc:sldMkLst>
          <pc:docMk/>
          <pc:sldMk cId="2586618861" sldId="1984"/>
        </pc:sldMkLst>
        <pc:spChg chg="mod">
          <ac:chgData name="Christopher Weaver" userId="2d47d5c7-389a-4b91-8fc5-dfad12ad20c7" providerId="ADAL" clId="{D16AF3FA-45AE-48D8-9E49-416D77F43661}" dt="2019-05-07T18:17:30.430" v="656" actId="1076"/>
          <ac:spMkLst>
            <pc:docMk/>
            <pc:sldMk cId="2586618861" sldId="1984"/>
            <ac:spMk id="4" creationId="{00000000-0000-0000-0000-000000000000}"/>
          </ac:spMkLst>
        </pc:spChg>
      </pc:sldChg>
    </pc:docChg>
  </pc:docChgLst>
  <pc:docChgLst>
    <pc:chgData name="Ki'Yona McClary" userId="S::kmcclary@microsoft.com::492bc8e0-e31d-42f8-9b7a-81eef03d1dc4" providerId="AD" clId="Web-{6AB51199-7796-5ABE-6D02-6360D6D2B156}"/>
    <pc:docChg chg="modSld">
      <pc:chgData name="Ki'Yona McClary" userId="S::kmcclary@microsoft.com::492bc8e0-e31d-42f8-9b7a-81eef03d1dc4" providerId="AD" clId="Web-{6AB51199-7796-5ABE-6D02-6360D6D2B156}" dt="2021-03-04T17:52:53.785" v="30" actId="20577"/>
      <pc:docMkLst>
        <pc:docMk/>
      </pc:docMkLst>
      <pc:sldChg chg="modSp">
        <pc:chgData name="Ki'Yona McClary" userId="S::kmcclary@microsoft.com::492bc8e0-e31d-42f8-9b7a-81eef03d1dc4" providerId="AD" clId="Web-{6AB51199-7796-5ABE-6D02-6360D6D2B156}" dt="2021-03-04T17:52:53.785" v="30" actId="20577"/>
        <pc:sldMkLst>
          <pc:docMk/>
          <pc:sldMk cId="1875027611" sldId="1985"/>
        </pc:sldMkLst>
        <pc:spChg chg="mod">
          <ac:chgData name="Ki'Yona McClary" userId="S::kmcclary@microsoft.com::492bc8e0-e31d-42f8-9b7a-81eef03d1dc4" providerId="AD" clId="Web-{6AB51199-7796-5ABE-6D02-6360D6D2B156}" dt="2021-03-04T17:52:53.785" v="30" actId="20577"/>
          <ac:spMkLst>
            <pc:docMk/>
            <pc:sldMk cId="1875027611" sldId="1985"/>
            <ac:spMk id="5" creationId="{920DB69D-009B-419C-9C46-0C582BAEAD46}"/>
          </ac:spMkLst>
        </pc:spChg>
      </pc:sldChg>
      <pc:sldChg chg="modSp">
        <pc:chgData name="Ki'Yona McClary" userId="S::kmcclary@microsoft.com::492bc8e0-e31d-42f8-9b7a-81eef03d1dc4" providerId="AD" clId="Web-{6AB51199-7796-5ABE-6D02-6360D6D2B156}" dt="2021-03-04T17:52:41.707" v="28" actId="20577"/>
        <pc:sldMkLst>
          <pc:docMk/>
          <pc:sldMk cId="1674848170" sldId="1990"/>
        </pc:sldMkLst>
        <pc:spChg chg="mod">
          <ac:chgData name="Ki'Yona McClary" userId="S::kmcclary@microsoft.com::492bc8e0-e31d-42f8-9b7a-81eef03d1dc4" providerId="AD" clId="Web-{6AB51199-7796-5ABE-6D02-6360D6D2B156}" dt="2021-03-04T17:52:41.707" v="28" actId="20577"/>
          <ac:spMkLst>
            <pc:docMk/>
            <pc:sldMk cId="1674848170" sldId="1990"/>
            <ac:spMk id="3" creationId="{00000000-0000-0000-0000-000000000000}"/>
          </ac:spMkLst>
        </pc:spChg>
      </pc:sldChg>
      <pc:sldChg chg="modSp">
        <pc:chgData name="Ki'Yona McClary" userId="S::kmcclary@microsoft.com::492bc8e0-e31d-42f8-9b7a-81eef03d1dc4" providerId="AD" clId="Web-{6AB51199-7796-5ABE-6D02-6360D6D2B156}" dt="2021-03-04T17:52:27.238" v="25" actId="20577"/>
        <pc:sldMkLst>
          <pc:docMk/>
          <pc:sldMk cId="3851442531" sldId="1991"/>
        </pc:sldMkLst>
        <pc:spChg chg="mod">
          <ac:chgData name="Ki'Yona McClary" userId="S::kmcclary@microsoft.com::492bc8e0-e31d-42f8-9b7a-81eef03d1dc4" providerId="AD" clId="Web-{6AB51199-7796-5ABE-6D02-6360D6D2B156}" dt="2021-03-04T17:52:27.238" v="25" actId="20577"/>
          <ac:spMkLst>
            <pc:docMk/>
            <pc:sldMk cId="3851442531" sldId="1991"/>
            <ac:spMk id="3" creationId="{3DC10D10-E8DD-447D-9E1B-B50109ECBD94}"/>
          </ac:spMkLst>
        </pc:spChg>
      </pc:sldChg>
    </pc:docChg>
  </pc:docChgLst>
  <pc:docChgLst>
    <pc:chgData name="Guest User" providerId="Windows Live" clId="Web-{595F06C4-DAA8-4977-B724-73E3DC52253D}"/>
    <pc:docChg chg="addSld delSld sldOrd addMainMaster modSection">
      <pc:chgData name="Guest User" userId="" providerId="Windows Live" clId="Web-{595F06C4-DAA8-4977-B724-73E3DC52253D}" dt="2020-08-23T21:52:34.403" v="2"/>
      <pc:docMkLst>
        <pc:docMk/>
      </pc:docMkLst>
      <pc:sldChg chg="del">
        <pc:chgData name="Guest User" userId="" providerId="Windows Live" clId="Web-{595F06C4-DAA8-4977-B724-73E3DC52253D}" dt="2020-08-23T21:51:53.824" v="0"/>
        <pc:sldMkLst>
          <pc:docMk/>
          <pc:sldMk cId="1900552605" sldId="424"/>
        </pc:sldMkLst>
      </pc:sldChg>
      <pc:sldChg chg="add ord">
        <pc:chgData name="Guest User" userId="" providerId="Windows Live" clId="Web-{595F06C4-DAA8-4977-B724-73E3DC52253D}" dt="2020-08-23T21:52:34.403" v="2"/>
        <pc:sldMkLst>
          <pc:docMk/>
          <pc:sldMk cId="3690323845" sldId="1997"/>
        </pc:sldMkLst>
      </pc:sldChg>
      <pc:sldMasterChg chg="add addSldLayout">
        <pc:chgData name="Guest User" userId="" providerId="Windows Live" clId="Web-{595F06C4-DAA8-4977-B724-73E3DC52253D}" dt="2020-08-23T21:52:18.934" v="1"/>
        <pc:sldMasterMkLst>
          <pc:docMk/>
          <pc:sldMasterMk cId="3138866671" sldId="2147483990"/>
        </pc:sldMasterMkLst>
        <pc:sldLayoutChg chg="add">
          <pc:chgData name="Guest User" userId="" providerId="Windows Live" clId="Web-{595F06C4-DAA8-4977-B724-73E3DC52253D}" dt="2020-08-23T21:52:18.934" v="1"/>
          <pc:sldLayoutMkLst>
            <pc:docMk/>
            <pc:sldMasterMk cId="3138866671" sldId="2147483990"/>
            <pc:sldLayoutMk cId="1225445844" sldId="2147483991"/>
          </pc:sldLayoutMkLst>
        </pc:sldLayoutChg>
        <pc:sldLayoutChg chg="add">
          <pc:chgData name="Guest User" userId="" providerId="Windows Live" clId="Web-{595F06C4-DAA8-4977-B724-73E3DC52253D}" dt="2020-08-23T21:52:18.934" v="1"/>
          <pc:sldLayoutMkLst>
            <pc:docMk/>
            <pc:sldMasterMk cId="3138866671" sldId="2147483990"/>
            <pc:sldLayoutMk cId="2128073608" sldId="2147483992"/>
          </pc:sldLayoutMkLst>
        </pc:sldLayoutChg>
        <pc:sldLayoutChg chg="add">
          <pc:chgData name="Guest User" userId="" providerId="Windows Live" clId="Web-{595F06C4-DAA8-4977-B724-73E3DC52253D}" dt="2020-08-23T21:52:18.934" v="1"/>
          <pc:sldLayoutMkLst>
            <pc:docMk/>
            <pc:sldMasterMk cId="3138866671" sldId="2147483990"/>
            <pc:sldLayoutMk cId="2611871824" sldId="2147483993"/>
          </pc:sldLayoutMkLst>
        </pc:sldLayoutChg>
        <pc:sldLayoutChg chg="add">
          <pc:chgData name="Guest User" userId="" providerId="Windows Live" clId="Web-{595F06C4-DAA8-4977-B724-73E3DC52253D}" dt="2020-08-23T21:52:18.934" v="1"/>
          <pc:sldLayoutMkLst>
            <pc:docMk/>
            <pc:sldMasterMk cId="3138866671" sldId="2147483990"/>
            <pc:sldLayoutMk cId="2381726192" sldId="2147483994"/>
          </pc:sldLayoutMkLst>
        </pc:sldLayoutChg>
        <pc:sldLayoutChg chg="add">
          <pc:chgData name="Guest User" userId="" providerId="Windows Live" clId="Web-{595F06C4-DAA8-4977-B724-73E3DC52253D}" dt="2020-08-23T21:52:18.934" v="1"/>
          <pc:sldLayoutMkLst>
            <pc:docMk/>
            <pc:sldMasterMk cId="3138866671" sldId="2147483990"/>
            <pc:sldLayoutMk cId="3633400075" sldId="2147483995"/>
          </pc:sldLayoutMkLst>
        </pc:sldLayoutChg>
        <pc:sldLayoutChg chg="add">
          <pc:chgData name="Guest User" userId="" providerId="Windows Live" clId="Web-{595F06C4-DAA8-4977-B724-73E3DC52253D}" dt="2020-08-23T21:52:18.934" v="1"/>
          <pc:sldLayoutMkLst>
            <pc:docMk/>
            <pc:sldMasterMk cId="3138866671" sldId="2147483990"/>
            <pc:sldLayoutMk cId="1025559163" sldId="2147483996"/>
          </pc:sldLayoutMkLst>
        </pc:sldLayoutChg>
        <pc:sldLayoutChg chg="add">
          <pc:chgData name="Guest User" userId="" providerId="Windows Live" clId="Web-{595F06C4-DAA8-4977-B724-73E3DC52253D}" dt="2020-08-23T21:52:18.934" v="1"/>
          <pc:sldLayoutMkLst>
            <pc:docMk/>
            <pc:sldMasterMk cId="3138866671" sldId="2147483990"/>
            <pc:sldLayoutMk cId="978647275" sldId="2147483997"/>
          </pc:sldLayoutMkLst>
        </pc:sldLayoutChg>
        <pc:sldLayoutChg chg="add">
          <pc:chgData name="Guest User" userId="" providerId="Windows Live" clId="Web-{595F06C4-DAA8-4977-B724-73E3DC52253D}" dt="2020-08-23T21:52:18.934" v="1"/>
          <pc:sldLayoutMkLst>
            <pc:docMk/>
            <pc:sldMasterMk cId="3138866671" sldId="2147483990"/>
            <pc:sldLayoutMk cId="3116855824" sldId="2147483998"/>
          </pc:sldLayoutMkLst>
        </pc:sldLayoutChg>
        <pc:sldLayoutChg chg="add">
          <pc:chgData name="Guest User" userId="" providerId="Windows Live" clId="Web-{595F06C4-DAA8-4977-B724-73E3DC52253D}" dt="2020-08-23T21:52:18.934" v="1"/>
          <pc:sldLayoutMkLst>
            <pc:docMk/>
            <pc:sldMasterMk cId="3138866671" sldId="2147483990"/>
            <pc:sldLayoutMk cId="3566546305" sldId="2147483999"/>
          </pc:sldLayoutMkLst>
        </pc:sldLayoutChg>
        <pc:sldLayoutChg chg="add">
          <pc:chgData name="Guest User" userId="" providerId="Windows Live" clId="Web-{595F06C4-DAA8-4977-B724-73E3DC52253D}" dt="2020-08-23T21:52:18.934" v="1"/>
          <pc:sldLayoutMkLst>
            <pc:docMk/>
            <pc:sldMasterMk cId="3138866671" sldId="2147483990"/>
            <pc:sldLayoutMk cId="1401725589" sldId="2147484000"/>
          </pc:sldLayoutMkLst>
        </pc:sldLayoutChg>
        <pc:sldLayoutChg chg="add">
          <pc:chgData name="Guest User" userId="" providerId="Windows Live" clId="Web-{595F06C4-DAA8-4977-B724-73E3DC52253D}" dt="2020-08-23T21:52:18.934" v="1"/>
          <pc:sldLayoutMkLst>
            <pc:docMk/>
            <pc:sldMasterMk cId="3138866671" sldId="2147483990"/>
            <pc:sldLayoutMk cId="1716957870" sldId="2147484001"/>
          </pc:sldLayoutMkLst>
        </pc:sldLayoutChg>
        <pc:sldLayoutChg chg="add">
          <pc:chgData name="Guest User" userId="" providerId="Windows Live" clId="Web-{595F06C4-DAA8-4977-B724-73E3DC52253D}" dt="2020-08-23T21:52:18.934" v="1"/>
          <pc:sldLayoutMkLst>
            <pc:docMk/>
            <pc:sldMasterMk cId="3138866671" sldId="2147483990"/>
            <pc:sldLayoutMk cId="482717613" sldId="2147484002"/>
          </pc:sldLayoutMkLst>
        </pc:sldLayoutChg>
        <pc:sldLayoutChg chg="add">
          <pc:chgData name="Guest User" userId="" providerId="Windows Live" clId="Web-{595F06C4-DAA8-4977-B724-73E3DC52253D}" dt="2020-08-23T21:52:18.934" v="1"/>
          <pc:sldLayoutMkLst>
            <pc:docMk/>
            <pc:sldMasterMk cId="3138866671" sldId="2147483990"/>
            <pc:sldLayoutMk cId="1508755777" sldId="2147484003"/>
          </pc:sldLayoutMkLst>
        </pc:sldLayoutChg>
        <pc:sldLayoutChg chg="add">
          <pc:chgData name="Guest User" userId="" providerId="Windows Live" clId="Web-{595F06C4-DAA8-4977-B724-73E3DC52253D}" dt="2020-08-23T21:52:18.934" v="1"/>
          <pc:sldLayoutMkLst>
            <pc:docMk/>
            <pc:sldMasterMk cId="3138866671" sldId="2147483990"/>
            <pc:sldLayoutMk cId="756118918" sldId="2147484004"/>
          </pc:sldLayoutMkLst>
        </pc:sldLayoutChg>
        <pc:sldLayoutChg chg="add">
          <pc:chgData name="Guest User" userId="" providerId="Windows Live" clId="Web-{595F06C4-DAA8-4977-B724-73E3DC52253D}" dt="2020-08-23T21:52:18.934" v="1"/>
          <pc:sldLayoutMkLst>
            <pc:docMk/>
            <pc:sldMasterMk cId="3138866671" sldId="2147483990"/>
            <pc:sldLayoutMk cId="434779669" sldId="2147484005"/>
          </pc:sldLayoutMkLst>
        </pc:sldLayoutChg>
        <pc:sldLayoutChg chg="add">
          <pc:chgData name="Guest User" userId="" providerId="Windows Live" clId="Web-{595F06C4-DAA8-4977-B724-73E3DC52253D}" dt="2020-08-23T21:52:18.934" v="1"/>
          <pc:sldLayoutMkLst>
            <pc:docMk/>
            <pc:sldMasterMk cId="3138866671" sldId="2147483990"/>
            <pc:sldLayoutMk cId="3370073269" sldId="2147484006"/>
          </pc:sldLayoutMkLst>
        </pc:sldLayoutChg>
        <pc:sldLayoutChg chg="add">
          <pc:chgData name="Guest User" userId="" providerId="Windows Live" clId="Web-{595F06C4-DAA8-4977-B724-73E3DC52253D}" dt="2020-08-23T21:52:18.934" v="1"/>
          <pc:sldLayoutMkLst>
            <pc:docMk/>
            <pc:sldMasterMk cId="3138866671" sldId="2147483990"/>
            <pc:sldLayoutMk cId="1641343874" sldId="2147484007"/>
          </pc:sldLayoutMkLst>
        </pc:sldLayoutChg>
        <pc:sldLayoutChg chg="add">
          <pc:chgData name="Guest User" userId="" providerId="Windows Live" clId="Web-{595F06C4-DAA8-4977-B724-73E3DC52253D}" dt="2020-08-23T21:52:18.934" v="1"/>
          <pc:sldLayoutMkLst>
            <pc:docMk/>
            <pc:sldMasterMk cId="3138866671" sldId="2147483990"/>
            <pc:sldLayoutMk cId="2216216901" sldId="2147484008"/>
          </pc:sldLayoutMkLst>
        </pc:sldLayoutChg>
        <pc:sldLayoutChg chg="add">
          <pc:chgData name="Guest User" userId="" providerId="Windows Live" clId="Web-{595F06C4-DAA8-4977-B724-73E3DC52253D}" dt="2020-08-23T21:52:18.934" v="1"/>
          <pc:sldLayoutMkLst>
            <pc:docMk/>
            <pc:sldMasterMk cId="3138866671" sldId="2147483990"/>
            <pc:sldLayoutMk cId="3320697965" sldId="2147484009"/>
          </pc:sldLayoutMkLst>
        </pc:sldLayoutChg>
        <pc:sldLayoutChg chg="add">
          <pc:chgData name="Guest User" userId="" providerId="Windows Live" clId="Web-{595F06C4-DAA8-4977-B724-73E3DC52253D}" dt="2020-08-23T21:52:18.934" v="1"/>
          <pc:sldLayoutMkLst>
            <pc:docMk/>
            <pc:sldMasterMk cId="3138866671" sldId="2147483990"/>
            <pc:sldLayoutMk cId="2881002593" sldId="2147484010"/>
          </pc:sldLayoutMkLst>
        </pc:sldLayoutChg>
        <pc:sldLayoutChg chg="add">
          <pc:chgData name="Guest User" userId="" providerId="Windows Live" clId="Web-{595F06C4-DAA8-4977-B724-73E3DC52253D}" dt="2020-08-23T21:52:18.934" v="1"/>
          <pc:sldLayoutMkLst>
            <pc:docMk/>
            <pc:sldMasterMk cId="3138866671" sldId="2147483990"/>
            <pc:sldLayoutMk cId="3491582711" sldId="2147484011"/>
          </pc:sldLayoutMkLst>
        </pc:sldLayoutChg>
        <pc:sldLayoutChg chg="add">
          <pc:chgData name="Guest User" userId="" providerId="Windows Live" clId="Web-{595F06C4-DAA8-4977-B724-73E3DC52253D}" dt="2020-08-23T21:52:18.934" v="1"/>
          <pc:sldLayoutMkLst>
            <pc:docMk/>
            <pc:sldMasterMk cId="3138866671" sldId="2147483990"/>
            <pc:sldLayoutMk cId="526330969" sldId="2147484012"/>
          </pc:sldLayoutMkLst>
        </pc:sldLayoutChg>
        <pc:sldLayoutChg chg="add">
          <pc:chgData name="Guest User" userId="" providerId="Windows Live" clId="Web-{595F06C4-DAA8-4977-B724-73E3DC52253D}" dt="2020-08-23T21:52:18.934" v="1"/>
          <pc:sldLayoutMkLst>
            <pc:docMk/>
            <pc:sldMasterMk cId="3138866671" sldId="2147483990"/>
            <pc:sldLayoutMk cId="2353817919" sldId="2147484013"/>
          </pc:sldLayoutMkLst>
        </pc:sldLayoutChg>
        <pc:sldLayoutChg chg="add">
          <pc:chgData name="Guest User" userId="" providerId="Windows Live" clId="Web-{595F06C4-DAA8-4977-B724-73E3DC52253D}" dt="2020-08-23T21:52:18.934" v="1"/>
          <pc:sldLayoutMkLst>
            <pc:docMk/>
            <pc:sldMasterMk cId="3138866671" sldId="2147483990"/>
            <pc:sldLayoutMk cId="2570858718" sldId="2147484014"/>
          </pc:sldLayoutMkLst>
        </pc:sldLayoutChg>
        <pc:sldLayoutChg chg="add">
          <pc:chgData name="Guest User" userId="" providerId="Windows Live" clId="Web-{595F06C4-DAA8-4977-B724-73E3DC52253D}" dt="2020-08-23T21:52:18.934" v="1"/>
          <pc:sldLayoutMkLst>
            <pc:docMk/>
            <pc:sldMasterMk cId="3138866671" sldId="2147483990"/>
            <pc:sldLayoutMk cId="1130694076" sldId="2147484015"/>
          </pc:sldLayoutMkLst>
        </pc:sldLayoutChg>
        <pc:sldLayoutChg chg="add">
          <pc:chgData name="Guest User" userId="" providerId="Windows Live" clId="Web-{595F06C4-DAA8-4977-B724-73E3DC52253D}" dt="2020-08-23T21:52:18.934" v="1"/>
          <pc:sldLayoutMkLst>
            <pc:docMk/>
            <pc:sldMasterMk cId="3138866671" sldId="2147483990"/>
            <pc:sldLayoutMk cId="1924444472" sldId="2147484016"/>
          </pc:sldLayoutMkLst>
        </pc:sldLayoutChg>
        <pc:sldLayoutChg chg="add">
          <pc:chgData name="Guest User" userId="" providerId="Windows Live" clId="Web-{595F06C4-DAA8-4977-B724-73E3DC52253D}" dt="2020-08-23T21:52:18.934" v="1"/>
          <pc:sldLayoutMkLst>
            <pc:docMk/>
            <pc:sldMasterMk cId="3138866671" sldId="2147483990"/>
            <pc:sldLayoutMk cId="3237381773" sldId="2147484017"/>
          </pc:sldLayoutMkLst>
        </pc:sldLayoutChg>
        <pc:sldLayoutChg chg="add">
          <pc:chgData name="Guest User" userId="" providerId="Windows Live" clId="Web-{595F06C4-DAA8-4977-B724-73E3DC52253D}" dt="2020-08-23T21:52:18.934" v="1"/>
          <pc:sldLayoutMkLst>
            <pc:docMk/>
            <pc:sldMasterMk cId="3138866671" sldId="2147483990"/>
            <pc:sldLayoutMk cId="119041650" sldId="2147484018"/>
          </pc:sldLayoutMkLst>
        </pc:sldLayoutChg>
        <pc:sldLayoutChg chg="add">
          <pc:chgData name="Guest User" userId="" providerId="Windows Live" clId="Web-{595F06C4-DAA8-4977-B724-73E3DC52253D}" dt="2020-08-23T21:52:18.934" v="1"/>
          <pc:sldLayoutMkLst>
            <pc:docMk/>
            <pc:sldMasterMk cId="3138866671" sldId="2147483990"/>
            <pc:sldLayoutMk cId="1876849995" sldId="2147484019"/>
          </pc:sldLayoutMkLst>
        </pc:sldLayoutChg>
        <pc:sldLayoutChg chg="add">
          <pc:chgData name="Guest User" userId="" providerId="Windows Live" clId="Web-{595F06C4-DAA8-4977-B724-73E3DC52253D}" dt="2020-08-23T21:52:18.934" v="1"/>
          <pc:sldLayoutMkLst>
            <pc:docMk/>
            <pc:sldMasterMk cId="3138866671" sldId="2147483990"/>
            <pc:sldLayoutMk cId="2442093490" sldId="2147484020"/>
          </pc:sldLayoutMkLst>
        </pc:sldLayoutChg>
        <pc:sldLayoutChg chg="add">
          <pc:chgData name="Guest User" userId="" providerId="Windows Live" clId="Web-{595F06C4-DAA8-4977-B724-73E3DC52253D}" dt="2020-08-23T21:52:18.934" v="1"/>
          <pc:sldLayoutMkLst>
            <pc:docMk/>
            <pc:sldMasterMk cId="3138866671" sldId="2147483990"/>
            <pc:sldLayoutMk cId="523462488" sldId="2147484021"/>
          </pc:sldLayoutMkLst>
        </pc:sldLayoutChg>
        <pc:sldLayoutChg chg="add">
          <pc:chgData name="Guest User" userId="" providerId="Windows Live" clId="Web-{595F06C4-DAA8-4977-B724-73E3DC52253D}" dt="2020-08-23T21:52:18.934" v="1"/>
          <pc:sldLayoutMkLst>
            <pc:docMk/>
            <pc:sldMasterMk cId="3138866671" sldId="2147483990"/>
            <pc:sldLayoutMk cId="3912418055" sldId="2147484022"/>
          </pc:sldLayoutMkLst>
        </pc:sldLayoutChg>
        <pc:sldLayoutChg chg="add">
          <pc:chgData name="Guest User" userId="" providerId="Windows Live" clId="Web-{595F06C4-DAA8-4977-B724-73E3DC52253D}" dt="2020-08-23T21:52:18.934" v="1"/>
          <pc:sldLayoutMkLst>
            <pc:docMk/>
            <pc:sldMasterMk cId="3138866671" sldId="2147483990"/>
            <pc:sldLayoutMk cId="1300962889" sldId="2147484023"/>
          </pc:sldLayoutMkLst>
        </pc:sldLayoutChg>
        <pc:sldLayoutChg chg="add">
          <pc:chgData name="Guest User" userId="" providerId="Windows Live" clId="Web-{595F06C4-DAA8-4977-B724-73E3DC52253D}" dt="2020-08-23T21:52:18.934" v="1"/>
          <pc:sldLayoutMkLst>
            <pc:docMk/>
            <pc:sldMasterMk cId="3138866671" sldId="2147483990"/>
            <pc:sldLayoutMk cId="2484416189" sldId="2147484024"/>
          </pc:sldLayoutMkLst>
        </pc:sldLayoutChg>
        <pc:sldLayoutChg chg="add">
          <pc:chgData name="Guest User" userId="" providerId="Windows Live" clId="Web-{595F06C4-DAA8-4977-B724-73E3DC52253D}" dt="2020-08-23T21:52:18.934" v="1"/>
          <pc:sldLayoutMkLst>
            <pc:docMk/>
            <pc:sldMasterMk cId="3138866671" sldId="2147483990"/>
            <pc:sldLayoutMk cId="618353612" sldId="2147484025"/>
          </pc:sldLayoutMkLst>
        </pc:sldLayoutChg>
        <pc:sldLayoutChg chg="add">
          <pc:chgData name="Guest User" userId="" providerId="Windows Live" clId="Web-{595F06C4-DAA8-4977-B724-73E3DC52253D}" dt="2020-08-23T21:52:18.934" v="1"/>
          <pc:sldLayoutMkLst>
            <pc:docMk/>
            <pc:sldMasterMk cId="3138866671" sldId="2147483990"/>
            <pc:sldLayoutMk cId="1184326568" sldId="2147484026"/>
          </pc:sldLayoutMkLst>
        </pc:sldLayoutChg>
        <pc:sldLayoutChg chg="add">
          <pc:chgData name="Guest User" userId="" providerId="Windows Live" clId="Web-{595F06C4-DAA8-4977-B724-73E3DC52253D}" dt="2020-08-23T21:52:18.934" v="1"/>
          <pc:sldLayoutMkLst>
            <pc:docMk/>
            <pc:sldMasterMk cId="3138866671" sldId="2147483990"/>
            <pc:sldLayoutMk cId="3795046949" sldId="2147484027"/>
          </pc:sldLayoutMkLst>
        </pc:sldLayoutChg>
        <pc:sldLayoutChg chg="add">
          <pc:chgData name="Guest User" userId="" providerId="Windows Live" clId="Web-{595F06C4-DAA8-4977-B724-73E3DC52253D}" dt="2020-08-23T21:52:18.934" v="1"/>
          <pc:sldLayoutMkLst>
            <pc:docMk/>
            <pc:sldMasterMk cId="3138866671" sldId="2147483990"/>
            <pc:sldLayoutMk cId="1831624703" sldId="2147484028"/>
          </pc:sldLayoutMkLst>
        </pc:sldLayoutChg>
        <pc:sldLayoutChg chg="add">
          <pc:chgData name="Guest User" userId="" providerId="Windows Live" clId="Web-{595F06C4-DAA8-4977-B724-73E3DC52253D}" dt="2020-08-23T21:52:18.934" v="1"/>
          <pc:sldLayoutMkLst>
            <pc:docMk/>
            <pc:sldMasterMk cId="3138866671" sldId="2147483990"/>
            <pc:sldLayoutMk cId="3255432458" sldId="2147484029"/>
          </pc:sldLayoutMkLst>
        </pc:sldLayoutChg>
        <pc:sldLayoutChg chg="add">
          <pc:chgData name="Guest User" userId="" providerId="Windows Live" clId="Web-{595F06C4-DAA8-4977-B724-73E3DC52253D}" dt="2020-08-23T21:52:18.934" v="1"/>
          <pc:sldLayoutMkLst>
            <pc:docMk/>
            <pc:sldMasterMk cId="3138866671" sldId="2147483990"/>
            <pc:sldLayoutMk cId="774246453" sldId="2147484030"/>
          </pc:sldLayoutMkLst>
        </pc:sldLayoutChg>
        <pc:sldLayoutChg chg="add">
          <pc:chgData name="Guest User" userId="" providerId="Windows Live" clId="Web-{595F06C4-DAA8-4977-B724-73E3DC52253D}" dt="2020-08-23T21:52:18.934" v="1"/>
          <pc:sldLayoutMkLst>
            <pc:docMk/>
            <pc:sldMasterMk cId="3138866671" sldId="2147483990"/>
            <pc:sldLayoutMk cId="1847334346" sldId="2147484031"/>
          </pc:sldLayoutMkLst>
        </pc:sldLayoutChg>
        <pc:sldLayoutChg chg="add">
          <pc:chgData name="Guest User" userId="" providerId="Windows Live" clId="Web-{595F06C4-DAA8-4977-B724-73E3DC52253D}" dt="2020-08-23T21:52:18.934" v="1"/>
          <pc:sldLayoutMkLst>
            <pc:docMk/>
            <pc:sldMasterMk cId="3138866671" sldId="2147483990"/>
            <pc:sldLayoutMk cId="161492002" sldId="2147484032"/>
          </pc:sldLayoutMkLst>
        </pc:sldLayoutChg>
        <pc:sldLayoutChg chg="add">
          <pc:chgData name="Guest User" userId="" providerId="Windows Live" clId="Web-{595F06C4-DAA8-4977-B724-73E3DC52253D}" dt="2020-08-23T21:52:18.934" v="1"/>
          <pc:sldLayoutMkLst>
            <pc:docMk/>
            <pc:sldMasterMk cId="3138866671" sldId="2147483990"/>
            <pc:sldLayoutMk cId="349658073" sldId="2147484033"/>
          </pc:sldLayoutMkLst>
        </pc:sldLayoutChg>
        <pc:sldLayoutChg chg="add">
          <pc:chgData name="Guest User" userId="" providerId="Windows Live" clId="Web-{595F06C4-DAA8-4977-B724-73E3DC52253D}" dt="2020-08-23T21:52:18.934" v="1"/>
          <pc:sldLayoutMkLst>
            <pc:docMk/>
            <pc:sldMasterMk cId="3138866671" sldId="2147483990"/>
            <pc:sldLayoutMk cId="238762808" sldId="2147484034"/>
          </pc:sldLayoutMkLst>
        </pc:sldLayoutChg>
      </pc:sldMasterChg>
    </pc:docChg>
  </pc:docChgLst>
  <pc:docChgLst>
    <pc:chgData name="Rishabh Mathur" userId="085a90ad-ff62-452d-9cc6-fb668aecc57d" providerId="ADAL" clId="{253A6A86-103F-46A7-B071-20AC69FA6773}"/>
    <pc:docChg chg="modSld">
      <pc:chgData name="Rishabh Mathur" userId="085a90ad-ff62-452d-9cc6-fb668aecc57d" providerId="ADAL" clId="{253A6A86-103F-46A7-B071-20AC69FA6773}" dt="2020-05-01T17:56:48.149" v="0" actId="6549"/>
      <pc:docMkLst>
        <pc:docMk/>
      </pc:docMkLst>
      <pc:sldChg chg="modSp mod">
        <pc:chgData name="Rishabh Mathur" userId="085a90ad-ff62-452d-9cc6-fb668aecc57d" providerId="ADAL" clId="{253A6A86-103F-46A7-B071-20AC69FA6773}" dt="2020-05-01T17:56:48.149" v="0" actId="6549"/>
        <pc:sldMkLst>
          <pc:docMk/>
          <pc:sldMk cId="616292797" sldId="406"/>
        </pc:sldMkLst>
        <pc:spChg chg="mod">
          <ac:chgData name="Rishabh Mathur" userId="085a90ad-ff62-452d-9cc6-fb668aecc57d" providerId="ADAL" clId="{253A6A86-103F-46A7-B071-20AC69FA6773}" dt="2020-05-01T17:56:48.149" v="0" actId="6549"/>
          <ac:spMkLst>
            <pc:docMk/>
            <pc:sldMk cId="616292797" sldId="406"/>
            <ac:spMk id="2" creationId="{00000000-0000-0000-0000-000000000000}"/>
          </ac:spMkLst>
        </pc:spChg>
      </pc:sldChg>
    </pc:docChg>
  </pc:docChgLst>
  <pc:docChgLst>
    <pc:chgData name="Matias Rama" userId="bdb996b8-8278-412a-926d-fa225ff77c33" providerId="ADAL" clId="{5B43D872-01C2-4BB4-BCD1-2052AA32DBA5}"/>
    <pc:docChg chg="custSel addSld delSld modSld sldOrd addSection modSection">
      <pc:chgData name="Matias Rama" userId="bdb996b8-8278-412a-926d-fa225ff77c33" providerId="ADAL" clId="{5B43D872-01C2-4BB4-BCD1-2052AA32DBA5}" dt="2020-05-05T23:11:18.279" v="161" actId="17846"/>
      <pc:docMkLst>
        <pc:docMk/>
      </pc:docMkLst>
      <pc:sldChg chg="mod modShow">
        <pc:chgData name="Matias Rama" userId="bdb996b8-8278-412a-926d-fa225ff77c33" providerId="ADAL" clId="{5B43D872-01C2-4BB4-BCD1-2052AA32DBA5}" dt="2020-05-05T22:56:45.197" v="87" actId="729"/>
        <pc:sldMkLst>
          <pc:docMk/>
          <pc:sldMk cId="3980266769" sldId="381"/>
        </pc:sldMkLst>
      </pc:sldChg>
      <pc:sldChg chg="modSp mod">
        <pc:chgData name="Matias Rama" userId="bdb996b8-8278-412a-926d-fa225ff77c33" providerId="ADAL" clId="{5B43D872-01C2-4BB4-BCD1-2052AA32DBA5}" dt="2020-05-05T22:45:42.095" v="1" actId="20577"/>
        <pc:sldMkLst>
          <pc:docMk/>
          <pc:sldMk cId="616292797" sldId="406"/>
        </pc:sldMkLst>
        <pc:spChg chg="mod">
          <ac:chgData name="Matias Rama" userId="bdb996b8-8278-412a-926d-fa225ff77c33" providerId="ADAL" clId="{5B43D872-01C2-4BB4-BCD1-2052AA32DBA5}" dt="2020-05-05T22:45:42.095" v="1" actId="20577"/>
          <ac:spMkLst>
            <pc:docMk/>
            <pc:sldMk cId="616292797" sldId="406"/>
            <ac:spMk id="2" creationId="{00000000-0000-0000-0000-000000000000}"/>
          </ac:spMkLst>
        </pc:spChg>
      </pc:sldChg>
      <pc:sldChg chg="modSp mod modShow modNotesTx">
        <pc:chgData name="Matias Rama" userId="bdb996b8-8278-412a-926d-fa225ff77c33" providerId="ADAL" clId="{5B43D872-01C2-4BB4-BCD1-2052AA32DBA5}" dt="2020-05-05T22:51:21.377" v="10" actId="729"/>
        <pc:sldMkLst>
          <pc:docMk/>
          <pc:sldMk cId="3734349781" sldId="414"/>
        </pc:sldMkLst>
        <pc:spChg chg="mod">
          <ac:chgData name="Matias Rama" userId="bdb996b8-8278-412a-926d-fa225ff77c33" providerId="ADAL" clId="{5B43D872-01C2-4BB4-BCD1-2052AA32DBA5}" dt="2020-05-05T22:48:44.576" v="2" actId="207"/>
          <ac:spMkLst>
            <pc:docMk/>
            <pc:sldMk cId="3734349781" sldId="414"/>
            <ac:spMk id="3" creationId="{204B7BCB-9541-4C31-BB2F-5DFD3F6E46A0}"/>
          </ac:spMkLst>
        </pc:spChg>
      </pc:sldChg>
      <pc:sldChg chg="modSp mod modNotesTx">
        <pc:chgData name="Matias Rama" userId="bdb996b8-8278-412a-926d-fa225ff77c33" providerId="ADAL" clId="{5B43D872-01C2-4BB4-BCD1-2052AA32DBA5}" dt="2020-05-05T22:54:40.197" v="83" actId="20577"/>
        <pc:sldMkLst>
          <pc:docMk/>
          <pc:sldMk cId="6914788" sldId="418"/>
        </pc:sldMkLst>
        <pc:spChg chg="mod">
          <ac:chgData name="Matias Rama" userId="bdb996b8-8278-412a-926d-fa225ff77c33" providerId="ADAL" clId="{5B43D872-01C2-4BB4-BCD1-2052AA32DBA5}" dt="2020-05-05T22:54:31.990" v="46" actId="20577"/>
          <ac:spMkLst>
            <pc:docMk/>
            <pc:sldMk cId="6914788" sldId="418"/>
            <ac:spMk id="2" creationId="{C8D1F36B-668C-425E-9C99-F45BD1518015}"/>
          </ac:spMkLst>
        </pc:spChg>
        <pc:spChg chg="mod">
          <ac:chgData name="Matias Rama" userId="bdb996b8-8278-412a-926d-fa225ff77c33" providerId="ADAL" clId="{5B43D872-01C2-4BB4-BCD1-2052AA32DBA5}" dt="2020-05-05T22:54:22.297" v="32" actId="207"/>
          <ac:spMkLst>
            <pc:docMk/>
            <pc:sldMk cId="6914788" sldId="418"/>
            <ac:spMk id="3" creationId="{00000000-0000-0000-0000-000000000000}"/>
          </ac:spMkLst>
        </pc:spChg>
      </pc:sldChg>
      <pc:sldChg chg="mod modShow">
        <pc:chgData name="Matias Rama" userId="bdb996b8-8278-412a-926d-fa225ff77c33" providerId="ADAL" clId="{5B43D872-01C2-4BB4-BCD1-2052AA32DBA5}" dt="2020-05-05T22:56:41.554" v="86" actId="729"/>
        <pc:sldMkLst>
          <pc:docMk/>
          <pc:sldMk cId="369063657" sldId="422"/>
        </pc:sldMkLst>
      </pc:sldChg>
      <pc:sldChg chg="mod modShow">
        <pc:chgData name="Matias Rama" userId="bdb996b8-8278-412a-926d-fa225ff77c33" providerId="ADAL" clId="{5B43D872-01C2-4BB4-BCD1-2052AA32DBA5}" dt="2020-05-05T22:56:53.039" v="88" actId="729"/>
        <pc:sldMkLst>
          <pc:docMk/>
          <pc:sldMk cId="278901877" sldId="1983"/>
        </pc:sldMkLst>
      </pc:sldChg>
      <pc:sldChg chg="modSp">
        <pc:chgData name="Matias Rama" userId="bdb996b8-8278-412a-926d-fa225ff77c33" providerId="ADAL" clId="{5B43D872-01C2-4BB4-BCD1-2052AA32DBA5}" dt="2020-05-05T23:08:23.154" v="103" actId="207"/>
        <pc:sldMkLst>
          <pc:docMk/>
          <pc:sldMk cId="2586618861" sldId="1984"/>
        </pc:sldMkLst>
        <pc:spChg chg="mod">
          <ac:chgData name="Matias Rama" userId="bdb996b8-8278-412a-926d-fa225ff77c33" providerId="ADAL" clId="{5B43D872-01C2-4BB4-BCD1-2052AA32DBA5}" dt="2020-05-05T23:08:23.154" v="103" actId="207"/>
          <ac:spMkLst>
            <pc:docMk/>
            <pc:sldMk cId="2586618861" sldId="1984"/>
            <ac:spMk id="2" creationId="{00000000-0000-0000-0000-000000000000}"/>
          </ac:spMkLst>
        </pc:spChg>
      </pc:sldChg>
      <pc:sldChg chg="addSp delSp modSp mod ord">
        <pc:chgData name="Matias Rama" userId="bdb996b8-8278-412a-926d-fa225ff77c33" providerId="ADAL" clId="{5B43D872-01C2-4BB4-BCD1-2052AA32DBA5}" dt="2020-05-05T22:59:14.222" v="98" actId="14100"/>
        <pc:sldMkLst>
          <pc:docMk/>
          <pc:sldMk cId="1875027611" sldId="1985"/>
        </pc:sldMkLst>
        <pc:spChg chg="mod">
          <ac:chgData name="Matias Rama" userId="bdb996b8-8278-412a-926d-fa225ff77c33" providerId="ADAL" clId="{5B43D872-01C2-4BB4-BCD1-2052AA32DBA5}" dt="2020-05-05T22:56:34.734" v="85" actId="207"/>
          <ac:spMkLst>
            <pc:docMk/>
            <pc:sldMk cId="1875027611" sldId="1985"/>
            <ac:spMk id="2" creationId="{BE86EB64-FD4C-459D-B464-A3D329DB8677}"/>
          </ac:spMkLst>
        </pc:spChg>
        <pc:picChg chg="del">
          <ac:chgData name="Matias Rama" userId="bdb996b8-8278-412a-926d-fa225ff77c33" providerId="ADAL" clId="{5B43D872-01C2-4BB4-BCD1-2052AA32DBA5}" dt="2020-05-05T22:59:09.265" v="95" actId="478"/>
          <ac:picMkLst>
            <pc:docMk/>
            <pc:sldMk cId="1875027611" sldId="1985"/>
            <ac:picMk id="4" creationId="{5E05FA83-2065-446A-BD86-446CEBA54DED}"/>
          </ac:picMkLst>
        </pc:picChg>
        <pc:picChg chg="add mod">
          <ac:chgData name="Matias Rama" userId="bdb996b8-8278-412a-926d-fa225ff77c33" providerId="ADAL" clId="{5B43D872-01C2-4BB4-BCD1-2052AA32DBA5}" dt="2020-05-05T22:59:14.222" v="98" actId="14100"/>
          <ac:picMkLst>
            <pc:docMk/>
            <pc:sldMk cId="1875027611" sldId="1985"/>
            <ac:picMk id="6" creationId="{171ACD72-3FCC-49DE-861D-48A1E8FC2522}"/>
          </ac:picMkLst>
        </pc:picChg>
      </pc:sldChg>
      <pc:sldChg chg="addSp delSp modSp add mod ord modShow addCm">
        <pc:chgData name="Matias Rama" userId="bdb996b8-8278-412a-926d-fa225ff77c33" providerId="ADAL" clId="{5B43D872-01C2-4BB4-BCD1-2052AA32DBA5}" dt="2020-05-05T22:53:19.385" v="24"/>
        <pc:sldMkLst>
          <pc:docMk/>
          <pc:sldMk cId="3081173804" sldId="1986"/>
        </pc:sldMkLst>
        <pc:spChg chg="add mod">
          <ac:chgData name="Matias Rama" userId="bdb996b8-8278-412a-926d-fa225ff77c33" providerId="ADAL" clId="{5B43D872-01C2-4BB4-BCD1-2052AA32DBA5}" dt="2020-05-05T22:52:43.364" v="23" actId="1076"/>
          <ac:spMkLst>
            <pc:docMk/>
            <pc:sldMk cId="3081173804" sldId="1986"/>
            <ac:spMk id="5" creationId="{C05DDE8C-D903-4649-8187-4B3A6C0527F2}"/>
          </ac:spMkLst>
        </pc:spChg>
        <pc:picChg chg="add del mod">
          <ac:chgData name="Matias Rama" userId="bdb996b8-8278-412a-926d-fa225ff77c33" providerId="ADAL" clId="{5B43D872-01C2-4BB4-BCD1-2052AA32DBA5}" dt="2020-05-05T22:51:28.189" v="14" actId="478"/>
          <ac:picMkLst>
            <pc:docMk/>
            <pc:sldMk cId="3081173804" sldId="1986"/>
            <ac:picMk id="2" creationId="{6DB904D3-BAAC-47C8-AC2D-E616A747C5E7}"/>
          </ac:picMkLst>
        </pc:picChg>
        <pc:picChg chg="add mod">
          <ac:chgData name="Matias Rama" userId="bdb996b8-8278-412a-926d-fa225ff77c33" providerId="ADAL" clId="{5B43D872-01C2-4BB4-BCD1-2052AA32DBA5}" dt="2020-05-05T22:52:06.012" v="20" actId="14100"/>
          <ac:picMkLst>
            <pc:docMk/>
            <pc:sldMk cId="3081173804" sldId="1986"/>
            <ac:picMk id="4" creationId="{5167A116-0922-4640-9E9B-B0F35D15BA42}"/>
          </ac:picMkLst>
        </pc:picChg>
        <pc:picChg chg="del">
          <ac:chgData name="Matias Rama" userId="bdb996b8-8278-412a-926d-fa225ff77c33" providerId="ADAL" clId="{5B43D872-01C2-4BB4-BCD1-2052AA32DBA5}" dt="2020-05-05T22:51:23.460" v="11" actId="478"/>
          <ac:picMkLst>
            <pc:docMk/>
            <pc:sldMk cId="3081173804" sldId="1986"/>
            <ac:picMk id="16" creationId="{DCC9A83D-79B2-4101-8DA1-224BDF3437B1}"/>
          </ac:picMkLst>
        </pc:picChg>
      </pc:sldChg>
      <pc:sldChg chg="modSp add mod">
        <pc:chgData name="Matias Rama" userId="bdb996b8-8278-412a-926d-fa225ff77c33" providerId="ADAL" clId="{5B43D872-01C2-4BB4-BCD1-2052AA32DBA5}" dt="2020-05-05T22:53:54.401" v="31" actId="20577"/>
        <pc:sldMkLst>
          <pc:docMk/>
          <pc:sldMk cId="2397058738" sldId="1987"/>
        </pc:sldMkLst>
        <pc:spChg chg="mod">
          <ac:chgData name="Matias Rama" userId="bdb996b8-8278-412a-926d-fa225ff77c33" providerId="ADAL" clId="{5B43D872-01C2-4BB4-BCD1-2052AA32DBA5}" dt="2020-05-05T22:53:50.074" v="27" actId="1076"/>
          <ac:spMkLst>
            <pc:docMk/>
            <pc:sldMk cId="2397058738" sldId="1987"/>
            <ac:spMk id="2" creationId="{9AD53B02-CD60-4933-B99F-65101A35143F}"/>
          </ac:spMkLst>
        </pc:spChg>
        <pc:spChg chg="mod">
          <ac:chgData name="Matias Rama" userId="bdb996b8-8278-412a-926d-fa225ff77c33" providerId="ADAL" clId="{5B43D872-01C2-4BB4-BCD1-2052AA32DBA5}" dt="2020-05-05T22:53:54.401" v="31" actId="20577"/>
          <ac:spMkLst>
            <pc:docMk/>
            <pc:sldMk cId="2397058738" sldId="1987"/>
            <ac:spMk id="5" creationId="{5C12F6E7-CAD8-420D-8EC9-18B5D66A4AAB}"/>
          </ac:spMkLst>
        </pc:spChg>
      </pc:sldChg>
      <pc:sldChg chg="add">
        <pc:chgData name="Matias Rama" userId="bdb996b8-8278-412a-926d-fa225ff77c33" providerId="ADAL" clId="{5B43D872-01C2-4BB4-BCD1-2052AA32DBA5}" dt="2020-05-05T22:56:22.058" v="84" actId="22"/>
        <pc:sldMkLst>
          <pc:docMk/>
          <pc:sldMk cId="3711151781" sldId="1988"/>
        </pc:sldMkLst>
      </pc:sldChg>
      <pc:sldChg chg="add">
        <pc:chgData name="Matias Rama" userId="bdb996b8-8278-412a-926d-fa225ff77c33" providerId="ADAL" clId="{5B43D872-01C2-4BB4-BCD1-2052AA32DBA5}" dt="2020-05-05T22:56:22.058" v="84" actId="22"/>
        <pc:sldMkLst>
          <pc:docMk/>
          <pc:sldMk cId="4093496454" sldId="1989"/>
        </pc:sldMkLst>
      </pc:sldChg>
      <pc:sldChg chg="add">
        <pc:chgData name="Matias Rama" userId="bdb996b8-8278-412a-926d-fa225ff77c33" providerId="ADAL" clId="{5B43D872-01C2-4BB4-BCD1-2052AA32DBA5}" dt="2020-05-05T22:56:22.058" v="84" actId="22"/>
        <pc:sldMkLst>
          <pc:docMk/>
          <pc:sldMk cId="1674848170" sldId="1990"/>
        </pc:sldMkLst>
      </pc:sldChg>
      <pc:sldChg chg="add">
        <pc:chgData name="Matias Rama" userId="bdb996b8-8278-412a-926d-fa225ff77c33" providerId="ADAL" clId="{5B43D872-01C2-4BB4-BCD1-2052AA32DBA5}" dt="2020-05-05T22:56:22.058" v="84" actId="22"/>
        <pc:sldMkLst>
          <pc:docMk/>
          <pc:sldMk cId="3851442531" sldId="1991"/>
        </pc:sldMkLst>
      </pc:sldChg>
      <pc:sldChg chg="addSp delSp modSp add mod">
        <pc:chgData name="Matias Rama" userId="bdb996b8-8278-412a-926d-fa225ff77c33" providerId="ADAL" clId="{5B43D872-01C2-4BB4-BCD1-2052AA32DBA5}" dt="2020-05-05T23:10:51.545" v="155" actId="22"/>
        <pc:sldMkLst>
          <pc:docMk/>
          <pc:sldMk cId="829854860" sldId="1992"/>
        </pc:sldMkLst>
        <pc:spChg chg="mod">
          <ac:chgData name="Matias Rama" userId="bdb996b8-8278-412a-926d-fa225ff77c33" providerId="ADAL" clId="{5B43D872-01C2-4BB4-BCD1-2052AA32DBA5}" dt="2020-05-05T23:09:34.965" v="114" actId="20577"/>
          <ac:spMkLst>
            <pc:docMk/>
            <pc:sldMk cId="829854860" sldId="1992"/>
            <ac:spMk id="2" creationId="{4B90FCF2-EECD-430D-9A80-C888748FFCE6}"/>
          </ac:spMkLst>
        </pc:spChg>
        <pc:spChg chg="del">
          <ac:chgData name="Matias Rama" userId="bdb996b8-8278-412a-926d-fa225ff77c33" providerId="ADAL" clId="{5B43D872-01C2-4BB4-BCD1-2052AA32DBA5}" dt="2020-05-05T23:09:39.774" v="115" actId="478"/>
          <ac:spMkLst>
            <pc:docMk/>
            <pc:sldMk cId="829854860" sldId="1992"/>
            <ac:spMk id="3" creationId="{B366DBEB-39FC-41F7-ABA7-643FBB5AFCC2}"/>
          </ac:spMkLst>
        </pc:spChg>
        <pc:spChg chg="add">
          <ac:chgData name="Matias Rama" userId="bdb996b8-8278-412a-926d-fa225ff77c33" providerId="ADAL" clId="{5B43D872-01C2-4BB4-BCD1-2052AA32DBA5}" dt="2020-05-05T23:10:51.545" v="155" actId="22"/>
          <ac:spMkLst>
            <pc:docMk/>
            <pc:sldMk cId="829854860" sldId="1992"/>
            <ac:spMk id="4" creationId="{E1F5F968-31D4-4409-BB85-C79F2BE4BAA6}"/>
          </ac:spMkLst>
        </pc:spChg>
      </pc:sldChg>
      <pc:sldChg chg="addSp delSp modSp add del mod modShow">
        <pc:chgData name="Matias Rama" userId="bdb996b8-8278-412a-926d-fa225ff77c33" providerId="ADAL" clId="{5B43D872-01C2-4BB4-BCD1-2052AA32DBA5}" dt="2020-05-05T22:59:30.573" v="102" actId="47"/>
        <pc:sldMkLst>
          <pc:docMk/>
          <pc:sldMk cId="4107722894" sldId="1992"/>
        </pc:sldMkLst>
        <pc:picChg chg="add del mod">
          <ac:chgData name="Matias Rama" userId="bdb996b8-8278-412a-926d-fa225ff77c33" providerId="ADAL" clId="{5B43D872-01C2-4BB4-BCD1-2052AA32DBA5}" dt="2020-05-05T22:59:25.065" v="101" actId="478"/>
          <ac:picMkLst>
            <pc:docMk/>
            <pc:sldMk cId="4107722894" sldId="1992"/>
            <ac:picMk id="6" creationId="{0A3F5345-06D6-4027-9B64-BD64DC049BF1}"/>
          </ac:picMkLst>
        </pc:picChg>
      </pc:sldChg>
      <pc:sldChg chg="addSp delSp modSp add mod">
        <pc:chgData name="Matias Rama" userId="bdb996b8-8278-412a-926d-fa225ff77c33" providerId="ADAL" clId="{5B43D872-01C2-4BB4-BCD1-2052AA32DBA5}" dt="2020-05-05T23:10:54.137" v="156" actId="22"/>
        <pc:sldMkLst>
          <pc:docMk/>
          <pc:sldMk cId="1887220588" sldId="1993"/>
        </pc:sldMkLst>
        <pc:spChg chg="mod">
          <ac:chgData name="Matias Rama" userId="bdb996b8-8278-412a-926d-fa225ff77c33" providerId="ADAL" clId="{5B43D872-01C2-4BB4-BCD1-2052AA32DBA5}" dt="2020-05-05T23:09:58.922" v="123" actId="20577"/>
          <ac:spMkLst>
            <pc:docMk/>
            <pc:sldMk cId="1887220588" sldId="1993"/>
            <ac:spMk id="2" creationId="{4B90FCF2-EECD-430D-9A80-C888748FFCE6}"/>
          </ac:spMkLst>
        </pc:spChg>
        <pc:spChg chg="del">
          <ac:chgData name="Matias Rama" userId="bdb996b8-8278-412a-926d-fa225ff77c33" providerId="ADAL" clId="{5B43D872-01C2-4BB4-BCD1-2052AA32DBA5}" dt="2020-05-05T23:10:02.699" v="124" actId="478"/>
          <ac:spMkLst>
            <pc:docMk/>
            <pc:sldMk cId="1887220588" sldId="1993"/>
            <ac:spMk id="3" creationId="{B366DBEB-39FC-41F7-ABA7-643FBB5AFCC2}"/>
          </ac:spMkLst>
        </pc:spChg>
        <pc:spChg chg="add">
          <ac:chgData name="Matias Rama" userId="bdb996b8-8278-412a-926d-fa225ff77c33" providerId="ADAL" clId="{5B43D872-01C2-4BB4-BCD1-2052AA32DBA5}" dt="2020-05-05T23:10:54.137" v="156" actId="22"/>
          <ac:spMkLst>
            <pc:docMk/>
            <pc:sldMk cId="1887220588" sldId="1993"/>
            <ac:spMk id="4" creationId="{D4500508-199B-4350-8FE7-03E23CBDBADF}"/>
          </ac:spMkLst>
        </pc:spChg>
      </pc:sldChg>
      <pc:sldChg chg="addSp delSp modSp add mod">
        <pc:chgData name="Matias Rama" userId="bdb996b8-8278-412a-926d-fa225ff77c33" providerId="ADAL" clId="{5B43D872-01C2-4BB4-BCD1-2052AA32DBA5}" dt="2020-05-05T23:10:55.279" v="157" actId="22"/>
        <pc:sldMkLst>
          <pc:docMk/>
          <pc:sldMk cId="1437757327" sldId="1994"/>
        </pc:sldMkLst>
        <pc:spChg chg="mod">
          <ac:chgData name="Matias Rama" userId="bdb996b8-8278-412a-926d-fa225ff77c33" providerId="ADAL" clId="{5B43D872-01C2-4BB4-BCD1-2052AA32DBA5}" dt="2020-05-05T23:10:38.640" v="153" actId="20577"/>
          <ac:spMkLst>
            <pc:docMk/>
            <pc:sldMk cId="1437757327" sldId="1994"/>
            <ac:spMk id="2" creationId="{4B90FCF2-EECD-430D-9A80-C888748FFCE6}"/>
          </ac:spMkLst>
        </pc:spChg>
        <pc:spChg chg="del">
          <ac:chgData name="Matias Rama" userId="bdb996b8-8278-412a-926d-fa225ff77c33" providerId="ADAL" clId="{5B43D872-01C2-4BB4-BCD1-2052AA32DBA5}" dt="2020-05-05T23:10:41.286" v="154" actId="478"/>
          <ac:spMkLst>
            <pc:docMk/>
            <pc:sldMk cId="1437757327" sldId="1994"/>
            <ac:spMk id="3" creationId="{B366DBEB-39FC-41F7-ABA7-643FBB5AFCC2}"/>
          </ac:spMkLst>
        </pc:spChg>
        <pc:spChg chg="add">
          <ac:chgData name="Matias Rama" userId="bdb996b8-8278-412a-926d-fa225ff77c33" providerId="ADAL" clId="{5B43D872-01C2-4BB4-BCD1-2052AA32DBA5}" dt="2020-05-05T23:10:55.279" v="157" actId="22"/>
          <ac:spMkLst>
            <pc:docMk/>
            <pc:sldMk cId="1437757327" sldId="1994"/>
            <ac:spMk id="4" creationId="{80B7EB78-F06D-47DF-A1B9-0013E00A097D}"/>
          </ac:spMkLst>
        </pc:spChg>
      </pc:sldChg>
      <pc:sldMasterChg chg="addSldLayout">
        <pc:chgData name="Matias Rama" userId="bdb996b8-8278-412a-926d-fa225ff77c33" providerId="ADAL" clId="{5B43D872-01C2-4BB4-BCD1-2052AA32DBA5}" dt="2020-05-05T23:09:30.224" v="104" actId="22"/>
        <pc:sldMasterMkLst>
          <pc:docMk/>
          <pc:sldMasterMk cId="1790270825" sldId="2147484082"/>
        </pc:sldMasterMkLst>
        <pc:sldLayoutChg chg="add">
          <pc:chgData name="Matias Rama" userId="bdb996b8-8278-412a-926d-fa225ff77c33" providerId="ADAL" clId="{5B43D872-01C2-4BB4-BCD1-2052AA32DBA5}" dt="2020-05-05T23:09:30.224" v="104" actId="22"/>
          <pc:sldLayoutMkLst>
            <pc:docMk/>
            <pc:sldMasterMk cId="1790270825" sldId="2147484082"/>
            <pc:sldLayoutMk cId="1104929464" sldId="2147484268"/>
          </pc:sldLayoutMkLst>
        </pc:sldLayoutChg>
      </pc:sldMasterChg>
      <pc:sldMasterChg chg="addSldLayout">
        <pc:chgData name="Matias Rama" userId="bdb996b8-8278-412a-926d-fa225ff77c33" providerId="ADAL" clId="{5B43D872-01C2-4BB4-BCD1-2052AA32DBA5}" dt="2020-05-05T22:52:24.970" v="21" actId="22"/>
        <pc:sldMasterMkLst>
          <pc:docMk/>
          <pc:sldMasterMk cId="1150004912" sldId="2147484275"/>
        </pc:sldMasterMkLst>
        <pc:sldLayoutChg chg="add">
          <pc:chgData name="Matias Rama" userId="bdb996b8-8278-412a-926d-fa225ff77c33" providerId="ADAL" clId="{5B43D872-01C2-4BB4-BCD1-2052AA32DBA5}" dt="2020-05-05T22:52:24.970" v="21" actId="22"/>
          <pc:sldLayoutMkLst>
            <pc:docMk/>
            <pc:sldMasterMk cId="1150004912" sldId="2147484275"/>
            <pc:sldLayoutMk cId="4136931003" sldId="2147484339"/>
          </pc:sldLayoutMkLst>
        </pc:sldLayoutChg>
      </pc:sldMasterChg>
    </pc:docChg>
  </pc:docChgLst>
  <pc:docChgLst>
    <pc:chgData name="Christopher Weaver" userId="2d47d5c7-389a-4b91-8fc5-dfad12ad20c7" providerId="ADAL" clId="{9377C934-A5BC-4FD6-B4D9-F9AFB681E7EE}"/>
    <pc:docChg chg="undo custSel addSld delSld modSection">
      <pc:chgData name="Christopher Weaver" userId="2d47d5c7-389a-4b91-8fc5-dfad12ad20c7" providerId="ADAL" clId="{9377C934-A5BC-4FD6-B4D9-F9AFB681E7EE}" dt="2020-07-31T19:32:38.224" v="12" actId="2696"/>
      <pc:docMkLst>
        <pc:docMk/>
      </pc:docMkLst>
      <pc:sldChg chg="add del">
        <pc:chgData name="Christopher Weaver" userId="2d47d5c7-389a-4b91-8fc5-dfad12ad20c7" providerId="ADAL" clId="{9377C934-A5BC-4FD6-B4D9-F9AFB681E7EE}" dt="2020-07-31T19:32:25.501" v="11" actId="2696"/>
        <pc:sldMkLst>
          <pc:docMk/>
          <pc:sldMk cId="2744750839" sldId="365"/>
        </pc:sldMkLst>
      </pc:sldChg>
      <pc:sldChg chg="add del">
        <pc:chgData name="Christopher Weaver" userId="2d47d5c7-389a-4b91-8fc5-dfad12ad20c7" providerId="ADAL" clId="{9377C934-A5BC-4FD6-B4D9-F9AFB681E7EE}" dt="2020-07-31T19:32:38.224" v="12" actId="2696"/>
        <pc:sldMkLst>
          <pc:docMk/>
          <pc:sldMk cId="3980266769" sldId="381"/>
        </pc:sldMkLst>
      </pc:sldChg>
      <pc:sldChg chg="del">
        <pc:chgData name="Christopher Weaver" userId="2d47d5c7-389a-4b91-8fc5-dfad12ad20c7" providerId="ADAL" clId="{9377C934-A5BC-4FD6-B4D9-F9AFB681E7EE}" dt="2020-07-31T19:22:03.545" v="0" actId="2696"/>
        <pc:sldMkLst>
          <pc:docMk/>
          <pc:sldMk cId="3734349781" sldId="414"/>
        </pc:sldMkLst>
      </pc:sldChg>
      <pc:sldChg chg="add del">
        <pc:chgData name="Christopher Weaver" userId="2d47d5c7-389a-4b91-8fc5-dfad12ad20c7" providerId="ADAL" clId="{9377C934-A5BC-4FD6-B4D9-F9AFB681E7EE}" dt="2020-07-31T19:31:57.209" v="9" actId="2696"/>
        <pc:sldMkLst>
          <pc:docMk/>
          <pc:sldMk cId="369063657" sldId="422"/>
        </pc:sldMkLst>
      </pc:sldChg>
      <pc:sldChg chg="add del">
        <pc:chgData name="Christopher Weaver" userId="2d47d5c7-389a-4b91-8fc5-dfad12ad20c7" providerId="ADAL" clId="{9377C934-A5BC-4FD6-B4D9-F9AFB681E7EE}" dt="2020-07-31T19:32:04.731" v="10" actId="2696"/>
        <pc:sldMkLst>
          <pc:docMk/>
          <pc:sldMk cId="278901877" sldId="1983"/>
        </pc:sldMkLst>
      </pc:sldChg>
    </pc:docChg>
  </pc:docChgLst>
  <pc:docChgLst>
    <pc:chgData name="Christopher Weaver" userId="2d47d5c7-389a-4b91-8fc5-dfad12ad20c7" providerId="ADAL" clId="{1D7979BE-34B0-4F3E-A0C2-74CD0B05A500}"/>
    <pc:docChg chg="undo custSel addSld delSld modSld modSection">
      <pc:chgData name="Christopher Weaver" userId="2d47d5c7-389a-4b91-8fc5-dfad12ad20c7" providerId="ADAL" clId="{1D7979BE-34B0-4F3E-A0C2-74CD0B05A500}" dt="2020-07-31T14:36:15.341" v="116" actId="113"/>
      <pc:docMkLst>
        <pc:docMk/>
      </pc:docMkLst>
      <pc:sldChg chg="addSp delSp modSp del mod modNotesTx">
        <pc:chgData name="Christopher Weaver" userId="2d47d5c7-389a-4b91-8fc5-dfad12ad20c7" providerId="ADAL" clId="{1D7979BE-34B0-4F3E-A0C2-74CD0B05A500}" dt="2020-07-31T14:34:57.765" v="93" actId="2696"/>
        <pc:sldMkLst>
          <pc:docMk/>
          <pc:sldMk cId="2586618861" sldId="1984"/>
        </pc:sldMkLst>
        <pc:spChg chg="del">
          <ac:chgData name="Christopher Weaver" userId="2d47d5c7-389a-4b91-8fc5-dfad12ad20c7" providerId="ADAL" clId="{1D7979BE-34B0-4F3E-A0C2-74CD0B05A500}" dt="2020-07-31T14:32:30.069" v="12" actId="478"/>
          <ac:spMkLst>
            <pc:docMk/>
            <pc:sldMk cId="2586618861" sldId="1984"/>
            <ac:spMk id="2" creationId="{00000000-0000-0000-0000-000000000000}"/>
          </ac:spMkLst>
        </pc:spChg>
        <pc:spChg chg="mod">
          <ac:chgData name="Christopher Weaver" userId="2d47d5c7-389a-4b91-8fc5-dfad12ad20c7" providerId="ADAL" clId="{1D7979BE-34B0-4F3E-A0C2-74CD0B05A500}" dt="2020-07-31T14:34:57.119" v="91" actId="12"/>
          <ac:spMkLst>
            <pc:docMk/>
            <pc:sldMk cId="2586618861" sldId="1984"/>
            <ac:spMk id="4" creationId="{00000000-0000-0000-0000-000000000000}"/>
          </ac:spMkLst>
        </pc:spChg>
        <pc:spChg chg="add mod">
          <ac:chgData name="Christopher Weaver" userId="2d47d5c7-389a-4b91-8fc5-dfad12ad20c7" providerId="ADAL" clId="{1D7979BE-34B0-4F3E-A0C2-74CD0B05A500}" dt="2020-07-31T14:33:01.276" v="68" actId="20577"/>
          <ac:spMkLst>
            <pc:docMk/>
            <pc:sldMk cId="2586618861" sldId="1984"/>
            <ac:spMk id="5" creationId="{CCD53B05-DBF9-455D-8DE1-8FA8E65E9678}"/>
          </ac:spMkLst>
        </pc:spChg>
        <pc:spChg chg="add del mod">
          <ac:chgData name="Christopher Weaver" userId="2d47d5c7-389a-4b91-8fc5-dfad12ad20c7" providerId="ADAL" clId="{1D7979BE-34B0-4F3E-A0C2-74CD0B05A500}" dt="2020-07-31T14:32:34.201" v="13" actId="478"/>
          <ac:spMkLst>
            <pc:docMk/>
            <pc:sldMk cId="2586618861" sldId="1984"/>
            <ac:spMk id="6" creationId="{4B26F7A3-7689-4F57-BCA6-8CA6AA9DEA38}"/>
          </ac:spMkLst>
        </pc:spChg>
      </pc:sldChg>
      <pc:sldChg chg="delSp mod modCm">
        <pc:chgData name="Christopher Weaver" userId="2d47d5c7-389a-4b91-8fc5-dfad12ad20c7" providerId="ADAL" clId="{1D7979BE-34B0-4F3E-A0C2-74CD0B05A500}" dt="2020-07-31T14:25:03.962" v="2" actId="2056"/>
        <pc:sldMkLst>
          <pc:docMk/>
          <pc:sldMk cId="3081173804" sldId="1986"/>
        </pc:sldMkLst>
        <pc:spChg chg="del">
          <ac:chgData name="Christopher Weaver" userId="2d47d5c7-389a-4b91-8fc5-dfad12ad20c7" providerId="ADAL" clId="{1D7979BE-34B0-4F3E-A0C2-74CD0B05A500}" dt="2020-07-31T14:25:03.939" v="1" actId="478"/>
          <ac:spMkLst>
            <pc:docMk/>
            <pc:sldMk cId="3081173804" sldId="1986"/>
            <ac:spMk id="5" creationId="{C05DDE8C-D903-4649-8187-4B3A6C0527F2}"/>
          </ac:spMkLst>
        </pc:spChg>
      </pc:sldChg>
      <pc:sldChg chg="delSp mod">
        <pc:chgData name="Christopher Weaver" userId="2d47d5c7-389a-4b91-8fc5-dfad12ad20c7" providerId="ADAL" clId="{1D7979BE-34B0-4F3E-A0C2-74CD0B05A500}" dt="2020-07-31T14:25:12.347" v="3" actId="478"/>
        <pc:sldMkLst>
          <pc:docMk/>
          <pc:sldMk cId="2397058738" sldId="1987"/>
        </pc:sldMkLst>
        <pc:spChg chg="del">
          <ac:chgData name="Christopher Weaver" userId="2d47d5c7-389a-4b91-8fc5-dfad12ad20c7" providerId="ADAL" clId="{1D7979BE-34B0-4F3E-A0C2-74CD0B05A500}" dt="2020-07-31T14:25:12.347" v="3" actId="478"/>
          <ac:spMkLst>
            <pc:docMk/>
            <pc:sldMk cId="2397058738" sldId="1987"/>
            <ac:spMk id="2" creationId="{9AD53B02-CD60-4933-B99F-65101A35143F}"/>
          </ac:spMkLst>
        </pc:spChg>
      </pc:sldChg>
      <pc:sldChg chg="delSp mod">
        <pc:chgData name="Christopher Weaver" userId="2d47d5c7-389a-4b91-8fc5-dfad12ad20c7" providerId="ADAL" clId="{1D7979BE-34B0-4F3E-A0C2-74CD0B05A500}" dt="2020-07-31T14:25:17.623" v="4" actId="478"/>
        <pc:sldMkLst>
          <pc:docMk/>
          <pc:sldMk cId="3711151781" sldId="1988"/>
        </pc:sldMkLst>
        <pc:spChg chg="del">
          <ac:chgData name="Christopher Weaver" userId="2d47d5c7-389a-4b91-8fc5-dfad12ad20c7" providerId="ADAL" clId="{1D7979BE-34B0-4F3E-A0C2-74CD0B05A500}" dt="2020-07-31T14:25:17.623" v="4" actId="478"/>
          <ac:spMkLst>
            <pc:docMk/>
            <pc:sldMk cId="3711151781" sldId="1988"/>
            <ac:spMk id="2" creationId="{1E0A3839-BD88-4BFB-99B5-F3EACBA0E737}"/>
          </ac:spMkLst>
        </pc:spChg>
      </pc:sldChg>
      <pc:sldChg chg="delSp mod">
        <pc:chgData name="Christopher Weaver" userId="2d47d5c7-389a-4b91-8fc5-dfad12ad20c7" providerId="ADAL" clId="{1D7979BE-34B0-4F3E-A0C2-74CD0B05A500}" dt="2020-07-31T14:25:31.037" v="6" actId="478"/>
        <pc:sldMkLst>
          <pc:docMk/>
          <pc:sldMk cId="4093496454" sldId="1989"/>
        </pc:sldMkLst>
        <pc:spChg chg="del">
          <ac:chgData name="Christopher Weaver" userId="2d47d5c7-389a-4b91-8fc5-dfad12ad20c7" providerId="ADAL" clId="{1D7979BE-34B0-4F3E-A0C2-74CD0B05A500}" dt="2020-07-31T14:25:31.037" v="6" actId="478"/>
          <ac:spMkLst>
            <pc:docMk/>
            <pc:sldMk cId="4093496454" sldId="1989"/>
            <ac:spMk id="3" creationId="{55A17191-747B-4A56-B48B-06C7051A70EB}"/>
          </ac:spMkLst>
        </pc:spChg>
      </pc:sldChg>
      <pc:sldChg chg="delSp mod">
        <pc:chgData name="Christopher Weaver" userId="2d47d5c7-389a-4b91-8fc5-dfad12ad20c7" providerId="ADAL" clId="{1D7979BE-34B0-4F3E-A0C2-74CD0B05A500}" dt="2020-07-31T14:25:38.746" v="7" actId="478"/>
        <pc:sldMkLst>
          <pc:docMk/>
          <pc:sldMk cId="1674848170" sldId="1990"/>
        </pc:sldMkLst>
        <pc:spChg chg="del">
          <ac:chgData name="Christopher Weaver" userId="2d47d5c7-389a-4b91-8fc5-dfad12ad20c7" providerId="ADAL" clId="{1D7979BE-34B0-4F3E-A0C2-74CD0B05A500}" dt="2020-07-31T14:25:38.746" v="7" actId="478"/>
          <ac:spMkLst>
            <pc:docMk/>
            <pc:sldMk cId="1674848170" sldId="1990"/>
            <ac:spMk id="4" creationId="{DFFFDDF6-7B07-4F9C-8D19-2D70C5106804}"/>
          </ac:spMkLst>
        </pc:spChg>
      </pc:sldChg>
      <pc:sldChg chg="delSp mod">
        <pc:chgData name="Christopher Weaver" userId="2d47d5c7-389a-4b91-8fc5-dfad12ad20c7" providerId="ADAL" clId="{1D7979BE-34B0-4F3E-A0C2-74CD0B05A500}" dt="2020-07-31T14:25:57.243" v="9" actId="478"/>
        <pc:sldMkLst>
          <pc:docMk/>
          <pc:sldMk cId="3851442531" sldId="1991"/>
        </pc:sldMkLst>
        <pc:spChg chg="del">
          <ac:chgData name="Christopher Weaver" userId="2d47d5c7-389a-4b91-8fc5-dfad12ad20c7" providerId="ADAL" clId="{1D7979BE-34B0-4F3E-A0C2-74CD0B05A500}" dt="2020-07-31T14:25:57.243" v="9" actId="478"/>
          <ac:spMkLst>
            <pc:docMk/>
            <pc:sldMk cId="3851442531" sldId="1991"/>
            <ac:spMk id="6" creationId="{EDB7C0B7-BE7E-4204-A727-B885A4B00918}"/>
          </ac:spMkLst>
        </pc:spChg>
      </pc:sldChg>
      <pc:sldChg chg="delSp mod">
        <pc:chgData name="Christopher Weaver" userId="2d47d5c7-389a-4b91-8fc5-dfad12ad20c7" providerId="ADAL" clId="{1D7979BE-34B0-4F3E-A0C2-74CD0B05A500}" dt="2020-07-31T14:24:48.081" v="0" actId="478"/>
        <pc:sldMkLst>
          <pc:docMk/>
          <pc:sldMk cId="829854860" sldId="1992"/>
        </pc:sldMkLst>
        <pc:spChg chg="del">
          <ac:chgData name="Christopher Weaver" userId="2d47d5c7-389a-4b91-8fc5-dfad12ad20c7" providerId="ADAL" clId="{1D7979BE-34B0-4F3E-A0C2-74CD0B05A500}" dt="2020-07-31T14:24:48.081" v="0" actId="478"/>
          <ac:spMkLst>
            <pc:docMk/>
            <pc:sldMk cId="829854860" sldId="1992"/>
            <ac:spMk id="4" creationId="{E1F5F968-31D4-4409-BB85-C79F2BE4BAA6}"/>
          </ac:spMkLst>
        </pc:spChg>
      </pc:sldChg>
      <pc:sldChg chg="delSp mod">
        <pc:chgData name="Christopher Weaver" userId="2d47d5c7-389a-4b91-8fc5-dfad12ad20c7" providerId="ADAL" clId="{1D7979BE-34B0-4F3E-A0C2-74CD0B05A500}" dt="2020-07-31T14:25:25.421" v="5" actId="478"/>
        <pc:sldMkLst>
          <pc:docMk/>
          <pc:sldMk cId="1887220588" sldId="1993"/>
        </pc:sldMkLst>
        <pc:spChg chg="del">
          <ac:chgData name="Christopher Weaver" userId="2d47d5c7-389a-4b91-8fc5-dfad12ad20c7" providerId="ADAL" clId="{1D7979BE-34B0-4F3E-A0C2-74CD0B05A500}" dt="2020-07-31T14:25:25.421" v="5" actId="478"/>
          <ac:spMkLst>
            <pc:docMk/>
            <pc:sldMk cId="1887220588" sldId="1993"/>
            <ac:spMk id="4" creationId="{D4500508-199B-4350-8FE7-03E23CBDBADF}"/>
          </ac:spMkLst>
        </pc:spChg>
      </pc:sldChg>
      <pc:sldChg chg="delSp mod">
        <pc:chgData name="Christopher Weaver" userId="2d47d5c7-389a-4b91-8fc5-dfad12ad20c7" providerId="ADAL" clId="{1D7979BE-34B0-4F3E-A0C2-74CD0B05A500}" dt="2020-07-31T14:25:52.799" v="8" actId="478"/>
        <pc:sldMkLst>
          <pc:docMk/>
          <pc:sldMk cId="1437757327" sldId="1994"/>
        </pc:sldMkLst>
        <pc:spChg chg="del">
          <ac:chgData name="Christopher Weaver" userId="2d47d5c7-389a-4b91-8fc5-dfad12ad20c7" providerId="ADAL" clId="{1D7979BE-34B0-4F3E-A0C2-74CD0B05A500}" dt="2020-07-31T14:25:52.799" v="8" actId="478"/>
          <ac:spMkLst>
            <pc:docMk/>
            <pc:sldMk cId="1437757327" sldId="1994"/>
            <ac:spMk id="4" creationId="{80B7EB78-F06D-47DF-A1B9-0013E00A097D}"/>
          </ac:spMkLst>
        </pc:spChg>
      </pc:sldChg>
      <pc:sldChg chg="modSp add del mod">
        <pc:chgData name="Christopher Weaver" userId="2d47d5c7-389a-4b91-8fc5-dfad12ad20c7" providerId="ADAL" clId="{1D7979BE-34B0-4F3E-A0C2-74CD0B05A500}" dt="2020-07-31T14:35:03.732" v="99" actId="2696"/>
        <pc:sldMkLst>
          <pc:docMk/>
          <pc:sldMk cId="1083081210" sldId="1995"/>
        </pc:sldMkLst>
        <pc:spChg chg="mod">
          <ac:chgData name="Christopher Weaver" userId="2d47d5c7-389a-4b91-8fc5-dfad12ad20c7" providerId="ADAL" clId="{1D7979BE-34B0-4F3E-A0C2-74CD0B05A500}" dt="2020-07-31T14:35:03.184" v="97" actId="12"/>
          <ac:spMkLst>
            <pc:docMk/>
            <pc:sldMk cId="1083081210" sldId="1995"/>
            <ac:spMk id="4" creationId="{00000000-0000-0000-0000-000000000000}"/>
          </ac:spMkLst>
        </pc:spChg>
      </pc:sldChg>
      <pc:sldChg chg="modSp add mod">
        <pc:chgData name="Christopher Weaver" userId="2d47d5c7-389a-4b91-8fc5-dfad12ad20c7" providerId="ADAL" clId="{1D7979BE-34B0-4F3E-A0C2-74CD0B05A500}" dt="2020-07-31T14:36:15.341" v="116" actId="113"/>
        <pc:sldMkLst>
          <pc:docMk/>
          <pc:sldMk cId="1796922269" sldId="1996"/>
        </pc:sldMkLst>
        <pc:spChg chg="mod">
          <ac:chgData name="Christopher Weaver" userId="2d47d5c7-389a-4b91-8fc5-dfad12ad20c7" providerId="ADAL" clId="{1D7979BE-34B0-4F3E-A0C2-74CD0B05A500}" dt="2020-07-31T14:36:15.341" v="116" actId="113"/>
          <ac:spMkLst>
            <pc:docMk/>
            <pc:sldMk cId="1796922269" sldId="1996"/>
            <ac:spMk id="4" creationId="{00000000-0000-0000-0000-000000000000}"/>
          </ac:spMkLst>
        </pc:spChg>
        <pc:spChg chg="mod">
          <ac:chgData name="Christopher Weaver" userId="2d47d5c7-389a-4b91-8fc5-dfad12ad20c7" providerId="ADAL" clId="{1D7979BE-34B0-4F3E-A0C2-74CD0B05A500}" dt="2020-07-31T14:36:09.738" v="114" actId="1076"/>
          <ac:spMkLst>
            <pc:docMk/>
            <pc:sldMk cId="1796922269" sldId="1996"/>
            <ac:spMk id="5" creationId="{CCD53B05-DBF9-455D-8DE1-8FA8E65E9678}"/>
          </ac:spMkLst>
        </pc:spChg>
      </pc:sldChg>
    </pc:docChg>
  </pc:docChgLst>
  <pc:docChgLst>
    <pc:chgData name="Asia Gandecka" userId="d4533edf-3129-4e97-a6db-54867d5d9a08" providerId="ADAL" clId="{97B22F15-A573-4416-BDEE-AEEB3E2C894E}"/>
    <pc:docChg chg="addSld modSld">
      <pc:chgData name="Asia Gandecka" userId="d4533edf-3129-4e97-a6db-54867d5d9a08" providerId="ADAL" clId="{97B22F15-A573-4416-BDEE-AEEB3E2C894E}" dt="2019-04-24T01:46:57.247" v="4"/>
      <pc:docMkLst>
        <pc:docMk/>
      </pc:docMkLst>
      <pc:sldChg chg="add">
        <pc:chgData name="Asia Gandecka" userId="d4533edf-3129-4e97-a6db-54867d5d9a08" providerId="ADAL" clId="{97B22F15-A573-4416-BDEE-AEEB3E2C894E}" dt="2019-04-24T01:46:43.883" v="0"/>
        <pc:sldMkLst>
          <pc:docMk/>
          <pc:sldMk cId="1900552605" sldId="424"/>
        </pc:sldMkLst>
      </pc:sldChg>
      <pc:sldChg chg="add">
        <pc:chgData name="Asia Gandecka" userId="d4533edf-3129-4e97-a6db-54867d5d9a08" providerId="ADAL" clId="{97B22F15-A573-4416-BDEE-AEEB3E2C894E}" dt="2019-04-24T01:46:45.902" v="1"/>
        <pc:sldMkLst>
          <pc:docMk/>
          <pc:sldMk cId="2817666680" sldId="425"/>
        </pc:sldMkLst>
      </pc:sldChg>
      <pc:sldChg chg="add">
        <pc:chgData name="Asia Gandecka" userId="d4533edf-3129-4e97-a6db-54867d5d9a08" providerId="ADAL" clId="{97B22F15-A573-4416-BDEE-AEEB3E2C894E}" dt="2019-04-24T01:46:52.269" v="2"/>
        <pc:sldMkLst>
          <pc:docMk/>
          <pc:sldMk cId="3486571688" sldId="426"/>
        </pc:sldMkLst>
      </pc:sldChg>
      <pc:sldChg chg="add">
        <pc:chgData name="Asia Gandecka" userId="d4533edf-3129-4e97-a6db-54867d5d9a08" providerId="ADAL" clId="{97B22F15-A573-4416-BDEE-AEEB3E2C894E}" dt="2019-04-24T01:46:54.708" v="3"/>
        <pc:sldMkLst>
          <pc:docMk/>
          <pc:sldMk cId="2004653973" sldId="427"/>
        </pc:sldMkLst>
      </pc:sldChg>
      <pc:sldChg chg="add">
        <pc:chgData name="Asia Gandecka" userId="d4533edf-3129-4e97-a6db-54867d5d9a08" providerId="ADAL" clId="{97B22F15-A573-4416-BDEE-AEEB3E2C894E}" dt="2019-04-24T01:46:57.247" v="4"/>
        <pc:sldMkLst>
          <pc:docMk/>
          <pc:sldMk cId="3995852369" sldId="428"/>
        </pc:sldMkLst>
      </pc:sldChg>
    </pc:docChg>
  </pc:docChgLst>
  <pc:docChgLst>
    <pc:chgData name="Guest User" providerId="Windows Live" clId="Web-{3F6EF95D-53AE-4F41-92BB-8089733D7484}"/>
    <pc:docChg chg="delSld modSection">
      <pc:chgData name="Guest User" userId="" providerId="Windows Live" clId="Web-{3F6EF95D-53AE-4F41-92BB-8089733D7484}" dt="2020-08-24T23:46:03.955" v="0"/>
      <pc:docMkLst>
        <pc:docMk/>
      </pc:docMkLst>
      <pc:sldChg chg="del">
        <pc:chgData name="Guest User" userId="" providerId="Windows Live" clId="Web-{3F6EF95D-53AE-4F41-92BB-8089733D7484}" dt="2020-08-24T23:46:03.955" v="0"/>
        <pc:sldMkLst>
          <pc:docMk/>
          <pc:sldMk cId="404508634" sldId="1998"/>
        </pc:sldMkLst>
      </pc:sldChg>
    </pc:docChg>
  </pc:docChgLst>
  <pc:docChgLst>
    <pc:chgData name="Christopher Weaver" userId="S::christwe@microsoft.com::2d47d5c7-389a-4b91-8fc5-dfad12ad20c7" providerId="AD" clId="Web-{E26ED2E7-5A84-05F8-8A81-36926A494161}"/>
    <pc:docChg chg="modSld">
      <pc:chgData name="Christopher Weaver" userId="S::christwe@microsoft.com::2d47d5c7-389a-4b91-8fc5-dfad12ad20c7" providerId="AD" clId="Web-{E26ED2E7-5A84-05F8-8A81-36926A494161}" dt="2020-01-30T21:08:49.720" v="0"/>
      <pc:docMkLst>
        <pc:docMk/>
      </pc:docMkLst>
      <pc:sldChg chg="modNotes">
        <pc:chgData name="Christopher Weaver" userId="S::christwe@microsoft.com::2d47d5c7-389a-4b91-8fc5-dfad12ad20c7" providerId="AD" clId="Web-{E26ED2E7-5A84-05F8-8A81-36926A494161}" dt="2020-01-30T21:08:49.720" v="0"/>
        <pc:sldMkLst>
          <pc:docMk/>
          <pc:sldMk cId="3980266769" sldId="381"/>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0/4/2021 8:19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0/4/2021 8:18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powerapps.microsoft.com/en-us/blog/new-screen-templates/"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89DB6A-E92B-415B-AFB4-9C72D4A9006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499483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4544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ention:</a:t>
            </a:r>
          </a:p>
          <a:p>
            <a:endParaRPr lang="en-US" b="1" dirty="0"/>
          </a:p>
          <a:p>
            <a:pPr marL="171450" indent="-171450">
              <a:buFontTx/>
              <a:buChar char="-"/>
            </a:pPr>
            <a:r>
              <a:rPr lang="en-US" dirty="0"/>
              <a:t>On the left, we see how to create new screens, and how to access existing screens. Click on an existing screen to load it in the designer and edit it.</a:t>
            </a:r>
          </a:p>
          <a:p>
            <a:pPr marL="171450" indent="-171450">
              <a:buFontTx/>
              <a:buChar char="-"/>
            </a:pPr>
            <a:r>
              <a:rPr lang="en-US" dirty="0"/>
              <a:t>On the right, we see a list of controls that we can place on the currently active screen in the designer.</a:t>
            </a:r>
          </a:p>
          <a:p>
            <a:endParaRPr lang="en-US" b="0" dirty="0"/>
          </a:p>
          <a:p>
            <a:r>
              <a:rPr lang="en-US" b="1" dirty="0"/>
              <a:t>Discuss:</a:t>
            </a:r>
          </a:p>
          <a:p>
            <a:endParaRPr lang="en-US" dirty="0"/>
          </a:p>
          <a:p>
            <a:pPr marL="171450" indent="-171450">
              <a:buFontTx/>
              <a:buChar char="-"/>
            </a:pPr>
            <a:r>
              <a:rPr lang="en-US" dirty="0"/>
              <a:t>You build a PowerApps app by creating screens, and by navigating screens in response to user input. Users interact with screens via UI controls such as Radio Buttons, Text Boxes, Dropdowns, etc.</a:t>
            </a:r>
          </a:p>
          <a:p>
            <a:pPr marL="171450" indent="-171450">
              <a:buFontTx/>
              <a:buChar char="-"/>
            </a:pPr>
            <a:r>
              <a:rPr lang="en-US" dirty="0"/>
              <a:t>You control the look and behavior of these UI controls via Formulas in the Formula bar. Anyone familiar with Excel formula bar programming will be comfortable working with Power Apps controls and formulas.</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0/4/2021</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4156115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iscuss:</a:t>
            </a:r>
          </a:p>
          <a:p>
            <a:endParaRPr lang="en-US" dirty="0"/>
          </a:p>
          <a:p>
            <a:r>
              <a:rPr lang="en-US" dirty="0"/>
              <a:t>Blank – Allows you to customize to look the way you want</a:t>
            </a:r>
          </a:p>
          <a:p>
            <a:r>
              <a:rPr lang="en-US" dirty="0"/>
              <a:t>Scrollable – Provides a scroll bar on the right side of the screen, so that you can move thru the controls in different sections</a:t>
            </a:r>
          </a:p>
          <a:p>
            <a:r>
              <a:rPr lang="en-US" dirty="0"/>
              <a:t>List – Behaves like a list view and allows for users to add some controls</a:t>
            </a:r>
          </a:p>
          <a:p>
            <a:r>
              <a:rPr lang="en-US" dirty="0"/>
              <a:t>Success - </a:t>
            </a:r>
            <a:r>
              <a:rPr lang="en-US" sz="900" b="0" i="0" kern="1200" dirty="0">
                <a:solidFill>
                  <a:schemeClr val="tx1"/>
                </a:solidFill>
                <a:effectLst/>
                <a:latin typeface="Segoe UI Light" pitchFamily="34" charset="0"/>
                <a:ea typeface="+mn-ea"/>
                <a:cs typeface="+mn-cs"/>
              </a:rPr>
              <a:t>This simple screen can be used anywhere you want to add confirmation for a user action. For example after submitting a form or sending a meeting invite. </a:t>
            </a:r>
            <a:endParaRPr lang="en-US" dirty="0"/>
          </a:p>
          <a:p>
            <a:r>
              <a:rPr lang="en-US" dirty="0"/>
              <a:t>Tutorial - </a:t>
            </a:r>
            <a:r>
              <a:rPr lang="en-US" sz="900" b="0" i="0" kern="1200" dirty="0">
                <a:solidFill>
                  <a:schemeClr val="tx1"/>
                </a:solidFill>
                <a:effectLst/>
                <a:latin typeface="Segoe UI Light" pitchFamily="34" charset="0"/>
                <a:ea typeface="+mn-ea"/>
                <a:cs typeface="+mn-cs"/>
              </a:rPr>
              <a:t>Use this as the first screen in your app to guide users on how to use your app. </a:t>
            </a:r>
            <a:endParaRPr lang="en-US" dirty="0"/>
          </a:p>
          <a:p>
            <a:r>
              <a:rPr lang="en-US" dirty="0"/>
              <a:t>Email - </a:t>
            </a:r>
            <a:r>
              <a:rPr lang="en-US" sz="900" b="0" i="0" kern="1200" dirty="0">
                <a:solidFill>
                  <a:schemeClr val="tx1"/>
                </a:solidFill>
                <a:effectLst/>
                <a:latin typeface="Segoe UI Light" pitchFamily="34" charset="0"/>
                <a:ea typeface="+mn-ea"/>
                <a:cs typeface="+mn-cs"/>
              </a:rPr>
              <a:t>Add this screen anywhere in your app to send an email. </a:t>
            </a:r>
            <a:endParaRPr lang="en-US" dirty="0"/>
          </a:p>
          <a:p>
            <a:r>
              <a:rPr lang="en-US" dirty="0"/>
              <a:t>People - </a:t>
            </a:r>
            <a:r>
              <a:rPr lang="en-US" sz="900" b="0" i="0" kern="1200" dirty="0">
                <a:solidFill>
                  <a:schemeClr val="tx1"/>
                </a:solidFill>
                <a:effectLst/>
                <a:latin typeface="Segoe UI Light" pitchFamily="34" charset="0"/>
                <a:ea typeface="+mn-ea"/>
                <a:cs typeface="+mn-cs"/>
              </a:rPr>
              <a:t>Search for users in your organization. We automatically add the Office 365 Users connection populate the MyPeople gallery with selected users.</a:t>
            </a:r>
            <a:endParaRPr lang="en-US" dirty="0"/>
          </a:p>
          <a:p>
            <a:r>
              <a:rPr lang="en-US" dirty="0"/>
              <a:t>Meeting - </a:t>
            </a:r>
            <a:r>
              <a:rPr lang="en-US" sz="900" b="0" i="0" kern="1200" dirty="0">
                <a:solidFill>
                  <a:schemeClr val="tx1"/>
                </a:solidFill>
                <a:effectLst/>
                <a:latin typeface="Segoe UI Light" pitchFamily="34" charset="0"/>
                <a:ea typeface="+mn-ea"/>
                <a:cs typeface="+mn-cs"/>
              </a:rPr>
              <a:t>Quickly send a meeting invite via Outlook. Suggested meeting times are automatically populated streamlining the process.</a:t>
            </a:r>
            <a:endParaRPr lang="en-US" dirty="0"/>
          </a:p>
          <a:p>
            <a:r>
              <a:rPr lang="en-US" dirty="0"/>
              <a:t>Calendar - </a:t>
            </a:r>
            <a:r>
              <a:rPr lang="en-US" sz="900" b="0" i="0" kern="1200" dirty="0">
                <a:solidFill>
                  <a:schemeClr val="tx1"/>
                </a:solidFill>
                <a:effectLst/>
                <a:latin typeface="Segoe UI Light" pitchFamily="34" charset="0"/>
                <a:ea typeface="+mn-ea"/>
                <a:cs typeface="+mn-cs"/>
              </a:rPr>
              <a:t>View your schedule for any given date. Use the components from this screen to add custom calendar functionality to your app. </a:t>
            </a:r>
            <a:endParaRPr lang="en-US" dirty="0"/>
          </a:p>
          <a:p>
            <a:endParaRPr lang="en-US" dirty="0"/>
          </a:p>
          <a:p>
            <a:r>
              <a:rPr lang="en-US" dirty="0">
                <a:hlinkClick r:id="rId3"/>
              </a:rPr>
              <a:t>https://powerapps.microsoft.com/en-us/blog/new-screen-templates/</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0/4/2021 8:18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26013769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you add screens to your app, be sure to name them. Then you can access them as a global variable in the formula bar from any other screen.</a:t>
            </a:r>
          </a:p>
          <a:p>
            <a:endParaRPr lang="en-US" dirty="0"/>
          </a:p>
          <a:p>
            <a:r>
              <a:rPr lang="en-US" dirty="0"/>
              <a:t>To navigate from screen to screen, use a control event, such as a Button’s Click property, and leverage the Navigate() or Back() formulas. When you invoke these formulas, they can accept an input parameter that allows you pass objects, collections, data sets, or other contextual data to the next page. For example, when looking at a list of orders and an order is clicked, you can navigate to the Order Details screen and pass the ID of the order that was clicked.</a:t>
            </a:r>
          </a:p>
          <a:p>
            <a:endParaRPr lang="en-US" dirty="0"/>
          </a:p>
          <a:p>
            <a:r>
              <a:rPr lang="en-US" dirty="0"/>
              <a:t>When you use the Back() formula, it works similar to the Back button in Android (or Back in a web browser).</a:t>
            </a:r>
          </a:p>
          <a:p>
            <a:endParaRPr lang="en-US" dirty="0"/>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0/4/2021</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9651317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ee lab file M2_PowerApps_PowerUser_StartingwithConnectorsScreensandControls.docx and complete all tasks</a:t>
            </a:r>
          </a:p>
          <a:p>
            <a:endParaRPr lang="de-AT" dirty="0">
              <a:ea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489DB6A-E92B-415B-AFB4-9C72D4A9006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1641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702" y="2119178"/>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2388" cy="3664099"/>
          </a:xfrm>
          <a:noFill/>
        </p:spPr>
        <p:txBody>
          <a:bodyPr lIns="146304" tIns="91440" rIns="146304" bIns="91440" anchor="t" anchorCtr="0">
            <a:noAutofit/>
          </a:bodyPr>
          <a:lstStyle>
            <a:lvl1pPr>
              <a:defRPr sz="4000" spc="-100" baseline="0">
                <a:gradFill>
                  <a:gsLst>
                    <a:gs pos="57576">
                      <a:srgbClr val="FFFFFF"/>
                    </a:gs>
                    <a:gs pos="35000">
                      <a:srgbClr val="FFFFFF"/>
                    </a:gs>
                  </a:gsLst>
                  <a:lin ang="5400000" scaled="0"/>
                </a:gradFill>
                <a:latin typeface="+mj-lt"/>
              </a:defRPr>
            </a:lvl1pPr>
          </a:lstStyle>
          <a:p>
            <a:r>
              <a:rPr lang="en-US" sz="4000" dirty="0">
                <a:latin typeface="+mj-lt"/>
              </a:rPr>
              <a:t>&lt;&lt;Module Title&gt;&gt;</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userDrawn="1"/>
        </p:nvSpPr>
        <p:spPr>
          <a:xfrm>
            <a:off x="233184" y="369155"/>
            <a:ext cx="12047835" cy="6081351"/>
          </a:xfrm>
          <a:prstGeom prst="rect">
            <a:avLst/>
          </a:prstGeom>
        </p:spPr>
        <p:txBody>
          <a:bodyPr vert="horz" lIns="93260" tIns="46630" rIns="93260" bIns="46630"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Microsoft Confidential</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16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1049294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Title Slide Photo_Option">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1" y="-1"/>
            <a:ext cx="12435594" cy="6995022"/>
          </a:xfrm>
          <a:prstGeom prst="rect">
            <a:avLst/>
          </a:prstGeom>
        </p:spPr>
      </p:pic>
      <p:sp>
        <p:nvSpPr>
          <p:cNvPr id="2" name="Rectangle 1"/>
          <p:cNvSpPr/>
          <p:nvPr/>
        </p:nvSpPr>
        <p:spPr bwMode="auto">
          <a:xfrm>
            <a:off x="274638" y="2119164"/>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p:nvSpPr>
        <p:spPr bwMode="auto">
          <a:xfrm>
            <a:off x="278781" y="6240432"/>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solidFill>
                  <a:schemeClr val="bg1"/>
                </a:solidFill>
              </a:rPr>
              <a:t>Microsoft Services</a:t>
            </a:r>
            <a:endParaRPr lang="en-US" sz="2400" dirty="0">
              <a:solidFill>
                <a:schemeClr val="bg1"/>
              </a:solidFill>
              <a:latin typeface="Segoe UI"/>
            </a:endParaRPr>
          </a:p>
        </p:txBody>
      </p:sp>
    </p:spTree>
    <p:extLst>
      <p:ext uri="{BB962C8B-B14F-4D97-AF65-F5344CB8AC3E}">
        <p14:creationId xmlns:p14="http://schemas.microsoft.com/office/powerpoint/2010/main" val="2939731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0890843"/>
      </p:ext>
    </p:extLst>
  </p:cSld>
  <p:clrMapOvr>
    <a:masterClrMapping/>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3470559"/>
      </p:ext>
    </p:extLst>
  </p:cSld>
  <p:clrMapOvr>
    <a:masterClrMapping/>
  </p:clrMapOvr>
  <p:transition>
    <p:fad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472395-B9EF-4528-830A-EB06019D5E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6996722-CB49-4721-827F-2AC761002BC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CE3AD1-D67A-42C9-B7EB-EEE2678161DF}"/>
              </a:ext>
            </a:extLst>
          </p:cNvPr>
          <p:cNvSpPr>
            <a:spLocks noGrp="1"/>
          </p:cNvSpPr>
          <p:nvPr>
            <p:ph type="dt" sz="half" idx="10"/>
          </p:nvPr>
        </p:nvSpPr>
        <p:spPr/>
        <p:txBody>
          <a:bodyPr/>
          <a:lstStyle/>
          <a:p>
            <a:fld id="{1E3DC7BB-2E07-48D5-9FB2-E119409C64D0}" type="datetimeFigureOut">
              <a:rPr lang="en-US" smtClean="0"/>
              <a:t>10/4/2021</a:t>
            </a:fld>
            <a:endParaRPr lang="en-US" dirty="0"/>
          </a:p>
        </p:txBody>
      </p:sp>
      <p:sp>
        <p:nvSpPr>
          <p:cNvPr id="5" name="Footer Placeholder 4">
            <a:extLst>
              <a:ext uri="{FF2B5EF4-FFF2-40B4-BE49-F238E27FC236}">
                <a16:creationId xmlns:a16="http://schemas.microsoft.com/office/drawing/2014/main" id="{DADBC2D8-9592-4803-B2DC-AC7A3B669C6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1C21DEB-68F9-4A11-8399-5893C19F8EBC}"/>
              </a:ext>
            </a:extLst>
          </p:cNvPr>
          <p:cNvSpPr>
            <a:spLocks noGrp="1"/>
          </p:cNvSpPr>
          <p:nvPr>
            <p:ph type="sldNum" sz="quarter" idx="12"/>
          </p:nvPr>
        </p:nvSpPr>
        <p:spPr/>
        <p:txBody>
          <a:bodyPr/>
          <a:lstStyle/>
          <a:p>
            <a:fld id="{2DA9D9FE-C712-447F-9D2A-3A016B670A89}" type="slidenum">
              <a:rPr lang="en-US" smtClean="0"/>
              <a:t>‹#›</a:t>
            </a:fld>
            <a:endParaRPr lang="en-US" dirty="0"/>
          </a:p>
        </p:txBody>
      </p:sp>
    </p:spTree>
    <p:extLst>
      <p:ext uri="{BB962C8B-B14F-4D97-AF65-F5344CB8AC3E}">
        <p14:creationId xmlns:p14="http://schemas.microsoft.com/office/powerpoint/2010/main" val="3519687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9924983"/>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466302"/>
            <a:ext cx="5486399" cy="753369"/>
          </a:xfrm>
        </p:spPr>
        <p:txBody>
          <a:bodyPr>
            <a:spAutoFit/>
          </a:bodyPr>
          <a:lstStyle>
            <a:lvl1pPr>
              <a:defRPr sz="4080" baseline="0">
                <a:gradFill>
                  <a:gsLst>
                    <a:gs pos="1250">
                      <a:schemeClr val="tx1"/>
                    </a:gs>
                    <a:gs pos="100000">
                      <a:schemeClr val="tx1"/>
                    </a:gs>
                  </a:gsLst>
                  <a:lin ang="5400000" scaled="0"/>
                </a:gradFill>
              </a:defRPr>
            </a:lvl1pPr>
          </a:lstStyle>
          <a:p>
            <a:r>
              <a:rPr lang="en-US"/>
              <a:t>50/50 photo layout</a:t>
            </a:r>
          </a:p>
        </p:txBody>
      </p:sp>
      <p:sp>
        <p:nvSpPr>
          <p:cNvPr id="4" name="Text Placeholder 3"/>
          <p:cNvSpPr>
            <a:spLocks noGrp="1"/>
          </p:cNvSpPr>
          <p:nvPr>
            <p:ph type="body" sz="quarter" idx="11"/>
          </p:nvPr>
        </p:nvSpPr>
        <p:spPr>
          <a:xfrm>
            <a:off x="275287" y="1321188"/>
            <a:ext cx="5486299" cy="20374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Placeholder 3"/>
          <p:cNvPicPr>
            <a:picLocks noChangeAspect="1"/>
          </p:cNvPicPr>
          <p:nvPr userDrawn="1"/>
        </p:nvPicPr>
        <p:blipFill>
          <a:blip r:embed="rId2"/>
          <a:srcRect l="20120" r="20120"/>
          <a:stretch>
            <a:fillRect/>
          </a:stretch>
        </p:blipFill>
        <p:spPr>
          <a:xfrm>
            <a:off x="6219825" y="0"/>
            <a:ext cx="6216650" cy="6992587"/>
          </a:xfrm>
          <a:prstGeom prst="rect">
            <a:avLst/>
          </a:prstGeom>
        </p:spPr>
      </p:pic>
    </p:spTree>
    <p:extLst>
      <p:ext uri="{BB962C8B-B14F-4D97-AF65-F5344CB8AC3E}">
        <p14:creationId xmlns:p14="http://schemas.microsoft.com/office/powerpoint/2010/main" val="2424729152"/>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0FB040-405A-4801-BB9B-DF93980EFA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491F04C-80F9-481D-8650-04A51F8E30F1}"/>
              </a:ext>
            </a:extLst>
          </p:cNvPr>
          <p:cNvSpPr>
            <a:spLocks noGrp="1"/>
          </p:cNvSpPr>
          <p:nvPr>
            <p:ph sz="half" idx="1"/>
          </p:nvPr>
        </p:nvSpPr>
        <p:spPr>
          <a:xfrm>
            <a:off x="855008" y="1861968"/>
            <a:ext cx="5285502" cy="20374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E67F0B3-439E-4A55-A2B0-3019AFF2C11C}"/>
              </a:ext>
            </a:extLst>
          </p:cNvPr>
          <p:cNvSpPr>
            <a:spLocks noGrp="1"/>
          </p:cNvSpPr>
          <p:nvPr>
            <p:ph sz="half" idx="2"/>
          </p:nvPr>
        </p:nvSpPr>
        <p:spPr>
          <a:xfrm>
            <a:off x="6295965" y="1861968"/>
            <a:ext cx="5285502" cy="20374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2DBC51B-E02D-4F56-9B38-D1BD21764F72}"/>
              </a:ext>
            </a:extLst>
          </p:cNvPr>
          <p:cNvSpPr>
            <a:spLocks noGrp="1"/>
          </p:cNvSpPr>
          <p:nvPr>
            <p:ph type="dt" sz="half" idx="10"/>
          </p:nvPr>
        </p:nvSpPr>
        <p:spPr/>
        <p:txBody>
          <a:bodyPr/>
          <a:lstStyle/>
          <a:p>
            <a:fld id="{1E3DC7BB-2E07-48D5-9FB2-E119409C64D0}" type="datetimeFigureOut">
              <a:rPr lang="en-US" smtClean="0"/>
              <a:t>10/4/2021</a:t>
            </a:fld>
            <a:endParaRPr lang="en-US" dirty="0"/>
          </a:p>
        </p:txBody>
      </p:sp>
      <p:sp>
        <p:nvSpPr>
          <p:cNvPr id="6" name="Footer Placeholder 5">
            <a:extLst>
              <a:ext uri="{FF2B5EF4-FFF2-40B4-BE49-F238E27FC236}">
                <a16:creationId xmlns:a16="http://schemas.microsoft.com/office/drawing/2014/main" id="{1A904DC4-82B2-4F2D-9917-9AA81504EC6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A81725-06C0-4A44-8E70-FCE45BC786A1}"/>
              </a:ext>
            </a:extLst>
          </p:cNvPr>
          <p:cNvSpPr>
            <a:spLocks noGrp="1"/>
          </p:cNvSpPr>
          <p:nvPr>
            <p:ph type="sldNum" sz="quarter" idx="12"/>
          </p:nvPr>
        </p:nvSpPr>
        <p:spPr/>
        <p:txBody>
          <a:bodyPr/>
          <a:lstStyle/>
          <a:p>
            <a:fld id="{2DA9D9FE-C712-447F-9D2A-3A016B670A89}" type="slidenum">
              <a:rPr lang="en-US" smtClean="0"/>
              <a:t>‹#›</a:t>
            </a:fld>
            <a:endParaRPr lang="en-US" dirty="0"/>
          </a:p>
        </p:txBody>
      </p:sp>
    </p:spTree>
    <p:extLst>
      <p:ext uri="{BB962C8B-B14F-4D97-AF65-F5344CB8AC3E}">
        <p14:creationId xmlns:p14="http://schemas.microsoft.com/office/powerpoint/2010/main" val="176612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702" y="2119178"/>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320" y="2119177"/>
            <a:ext cx="6402388" cy="3664085"/>
          </a:xfrm>
          <a:noFill/>
        </p:spPr>
        <p:txBody>
          <a:bodyPr lIns="146304" tIns="91440" rIns="146304" bIns="91440" anchor="t" anchorCtr="0">
            <a:noAutofit/>
          </a:bodyPr>
          <a:lstStyle>
            <a:lvl1pPr>
              <a:defRPr sz="4000" spc="-100" baseline="0">
                <a:gradFill>
                  <a:gsLst>
                    <a:gs pos="57576">
                      <a:srgbClr val="FFFFFF"/>
                    </a:gs>
                    <a:gs pos="35000">
                      <a:srgbClr val="FFFFFF"/>
                    </a:gs>
                  </a:gsLst>
                  <a:lin ang="5400000" scaled="0"/>
                </a:gradFill>
                <a:latin typeface="+mj-lt"/>
              </a:defRPr>
            </a:lvl1pPr>
          </a:lstStyle>
          <a:p>
            <a:r>
              <a:rPr lang="en-US" sz="4000" dirty="0">
                <a:latin typeface="+mj-lt"/>
              </a:rPr>
              <a:t>&lt;&lt;Module Title&gt;&gt;</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1080159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userDrawn="1"/>
        </p:nvSpPr>
        <p:spPr>
          <a:xfrm>
            <a:off x="233184" y="369155"/>
            <a:ext cx="12047835" cy="6081351"/>
          </a:xfrm>
          <a:prstGeom prst="rect">
            <a:avLst/>
          </a:prstGeom>
        </p:spPr>
        <p:txBody>
          <a:bodyPr vert="horz" lIns="93260" tIns="46630" rIns="93260" bIns="46630"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Microsoft Confidential</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16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4063161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ow to view this Presenta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866A743-B49D-4CCF-94F3-42450F822BF0}"/>
              </a:ext>
            </a:extLst>
          </p:cNvPr>
          <p:cNvSpPr/>
          <p:nvPr userDrawn="1"/>
        </p:nvSpPr>
        <p:spPr>
          <a:xfrm>
            <a:off x="274639" y="1213876"/>
            <a:ext cx="11889564" cy="4247317"/>
          </a:xfrm>
          <a:prstGeom prst="rect">
            <a:avLst/>
          </a:prstGeom>
        </p:spPr>
        <p:txBody>
          <a:bodyPr wrap="square" lIns="146304" tIns="91440" rIns="146304" bIns="91440">
            <a:spAutoFit/>
          </a:bodyPr>
          <a:lstStyle/>
          <a:p>
            <a:pPr lvl="0"/>
            <a:r>
              <a:rPr lang="en-US" sz="2400" dirty="0"/>
              <a:t>To switch to </a:t>
            </a:r>
            <a:r>
              <a:rPr lang="en-US" sz="2400" b="1" dirty="0"/>
              <a:t>Notes Page </a:t>
            </a:r>
            <a:r>
              <a:rPr lang="en-US" sz="2400" dirty="0"/>
              <a:t>view:</a:t>
            </a:r>
          </a:p>
          <a:p>
            <a:pPr lvl="1"/>
            <a:r>
              <a:rPr lang="en-US" sz="2400" dirty="0"/>
              <a:t>On the ribbon, click the </a:t>
            </a:r>
            <a:r>
              <a:rPr lang="en-US" sz="2400" b="1" dirty="0"/>
              <a:t>View</a:t>
            </a:r>
            <a:r>
              <a:rPr lang="en-US" sz="2400" dirty="0"/>
              <a:t> tab, and then click </a:t>
            </a:r>
            <a:r>
              <a:rPr lang="en-US" sz="2400" b="1" dirty="0"/>
              <a:t>Notes Page</a:t>
            </a:r>
          </a:p>
          <a:p>
            <a:pPr lvl="0"/>
            <a:endParaRPr lang="en-US" sz="2400" dirty="0"/>
          </a:p>
          <a:p>
            <a:pPr lvl="0"/>
            <a:r>
              <a:rPr lang="en-US" sz="2400" dirty="0"/>
              <a:t>To navigate through notes, use the </a:t>
            </a:r>
            <a:r>
              <a:rPr lang="en-US" sz="2400" b="1" dirty="0"/>
              <a:t>Page Up </a:t>
            </a:r>
            <a:r>
              <a:rPr lang="en-US" sz="2400" dirty="0"/>
              <a:t>and </a:t>
            </a:r>
            <a:r>
              <a:rPr lang="en-US" sz="2400" b="1" dirty="0"/>
              <a:t>Page Down </a:t>
            </a:r>
            <a:r>
              <a:rPr lang="en-US" sz="2400" dirty="0"/>
              <a:t>keys</a:t>
            </a:r>
          </a:p>
          <a:p>
            <a:pPr lvl="1"/>
            <a:r>
              <a:rPr lang="en-US" sz="2400" dirty="0"/>
              <a:t>Zoom in or zoom out, if required</a:t>
            </a:r>
          </a:p>
          <a:p>
            <a:pPr lvl="0"/>
            <a:endParaRPr lang="en-US" sz="2400" dirty="0"/>
          </a:p>
          <a:p>
            <a:pPr lvl="0"/>
            <a:r>
              <a:rPr lang="en-US" sz="2400" dirty="0"/>
              <a:t>In the </a:t>
            </a:r>
            <a:r>
              <a:rPr lang="en-US" sz="2400" b="1" dirty="0"/>
              <a:t>Notes Page </a:t>
            </a:r>
            <a:r>
              <a:rPr lang="en-US" sz="2400" dirty="0"/>
              <a:t>view, you can:</a:t>
            </a:r>
          </a:p>
          <a:p>
            <a:pPr lvl="1"/>
            <a:r>
              <a:rPr lang="en-US" sz="2400" dirty="0"/>
              <a:t>Read any supporting text—now or after the delivery</a:t>
            </a:r>
          </a:p>
          <a:p>
            <a:pPr lvl="1"/>
            <a:r>
              <a:rPr lang="en-US" sz="2400" dirty="0"/>
              <a:t>Add notes to your copy of the presentation, if required</a:t>
            </a:r>
          </a:p>
          <a:p>
            <a:pPr lvl="0"/>
            <a:endParaRPr lang="en-US" sz="2400" dirty="0"/>
          </a:p>
          <a:p>
            <a:pPr lvl="0"/>
            <a:r>
              <a:rPr lang="en-US" sz="2400" dirty="0"/>
              <a:t>Take the presentation files home with you</a:t>
            </a:r>
          </a:p>
        </p:txBody>
      </p:sp>
      <p:sp>
        <p:nvSpPr>
          <p:cNvPr id="5" name="Rectangle 4">
            <a:extLst>
              <a:ext uri="{FF2B5EF4-FFF2-40B4-BE49-F238E27FC236}">
                <a16:creationId xmlns:a16="http://schemas.microsoft.com/office/drawing/2014/main" id="{32C605F4-CFC7-4BE5-832B-80BBA5066247}"/>
              </a:ext>
            </a:extLst>
          </p:cNvPr>
          <p:cNvSpPr/>
          <p:nvPr userDrawn="1"/>
        </p:nvSpPr>
        <p:spPr>
          <a:xfrm>
            <a:off x="274638" y="294246"/>
            <a:ext cx="11887198" cy="923330"/>
          </a:xfrm>
          <a:prstGeom prst="rect">
            <a:avLst/>
          </a:prstGeom>
        </p:spPr>
        <p:txBody>
          <a:bodyPr wrap="square" lIns="146304" tIns="91440" rIns="146304" bIns="91440">
            <a:noAutofit/>
          </a:bodyPr>
          <a:lstStyle/>
          <a:p>
            <a:r>
              <a:rPr lang="en-US" sz="4800" dirty="0">
                <a:solidFill>
                  <a:schemeClr val="accent3"/>
                </a:solidFill>
                <a:latin typeface="+mj-lt"/>
              </a:rPr>
              <a:t>How to View This Presentation</a:t>
            </a:r>
          </a:p>
        </p:txBody>
      </p:sp>
    </p:spTree>
    <p:extLst>
      <p:ext uri="{BB962C8B-B14F-4D97-AF65-F5344CB8AC3E}">
        <p14:creationId xmlns:p14="http://schemas.microsoft.com/office/powerpoint/2010/main" val="64383208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EB10EA7-4705-4753-B9B2-5A545797BA7E}"/>
              </a:ext>
            </a:extLst>
          </p:cNvPr>
          <p:cNvSpPr/>
          <p:nvPr userDrawn="1"/>
        </p:nvSpPr>
        <p:spPr>
          <a:xfrm>
            <a:off x="274638" y="295274"/>
            <a:ext cx="11887196" cy="914400"/>
          </a:xfrm>
          <a:prstGeom prst="rect">
            <a:avLst/>
          </a:prstGeom>
        </p:spPr>
        <p:txBody>
          <a:bodyPr wrap="square" lIns="146304" tIns="91440" rIns="146304" bIns="91440">
            <a:noAutofit/>
          </a:bodyPr>
          <a:lstStyle/>
          <a:p>
            <a:pPr marL="53975" indent="0"/>
            <a:r>
              <a:rPr lang="en-US" sz="4800" baseline="0" dirty="0">
                <a:solidFill>
                  <a:schemeClr val="accent3"/>
                </a:solidFill>
                <a:latin typeface="+mj-lt"/>
              </a:rPr>
              <a:t>Module Overview</a:t>
            </a:r>
          </a:p>
        </p:txBody>
      </p:sp>
      <p:sp>
        <p:nvSpPr>
          <p:cNvPr id="7" name="Text Placeholder 4">
            <a:extLst>
              <a:ext uri="{FF2B5EF4-FFF2-40B4-BE49-F238E27FC236}">
                <a16:creationId xmlns:a16="http://schemas.microsoft.com/office/drawing/2014/main" id="{781BB40F-20AD-43CC-9A94-AC3AEDDE6D99}"/>
              </a:ext>
            </a:extLst>
          </p:cNvPr>
          <p:cNvSpPr>
            <a:spLocks noGrp="1"/>
          </p:cNvSpPr>
          <p:nvPr>
            <p:ph type="body" sz="quarter" idx="10" hasCustomPrompt="1"/>
          </p:nvPr>
        </p:nvSpPr>
        <p:spPr>
          <a:xfrm>
            <a:off x="274638" y="1211255"/>
            <a:ext cx="11887200" cy="5487988"/>
          </a:xfrm>
        </p:spPr>
        <p:txBody>
          <a:bodyPr/>
          <a:lstStyle>
            <a:lvl1pPr>
              <a:defRPr/>
            </a:lvl1pPr>
            <a:lvl2pPr>
              <a:defRPr/>
            </a:lvl2pPr>
          </a:lstStyle>
          <a:p>
            <a:pPr lvl="0"/>
            <a:r>
              <a:rPr lang="en-US" dirty="0"/>
              <a:t>&lt;&lt;Lesson 1: Title&gt;&gt;</a:t>
            </a:r>
            <a:br>
              <a:rPr lang="en-US" dirty="0"/>
            </a:br>
            <a:r>
              <a:rPr lang="en-US" dirty="0"/>
              <a:t> &lt;&lt;Lesson 2: Title&gt;&gt;</a:t>
            </a:r>
          </a:p>
        </p:txBody>
      </p:sp>
    </p:spTree>
    <p:extLst>
      <p:ext uri="{BB962C8B-B14F-4D97-AF65-F5344CB8AC3E}">
        <p14:creationId xmlns:p14="http://schemas.microsoft.com/office/powerpoint/2010/main" val="164243757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esson overview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74638" y="295273"/>
            <a:ext cx="11887200" cy="914400"/>
          </a:xfrm>
        </p:spPr>
        <p:txBody>
          <a:bodyPr/>
          <a:lstStyle>
            <a:lvl1pPr>
              <a:defRPr/>
            </a:lvl1pPr>
          </a:lstStyle>
          <a:p>
            <a:r>
              <a:rPr lang="en-US" dirty="0"/>
              <a:t>Lesson #: &lt;&lt;Insert Title&gt;&gt;</a:t>
            </a:r>
          </a:p>
        </p:txBody>
      </p:sp>
      <p:sp>
        <p:nvSpPr>
          <p:cNvPr id="5" name="Text Placeholder 4">
            <a:extLst>
              <a:ext uri="{FF2B5EF4-FFF2-40B4-BE49-F238E27FC236}">
                <a16:creationId xmlns:a16="http://schemas.microsoft.com/office/drawing/2014/main" id="{023B8C45-121E-4A34-80C4-59192415431B}"/>
              </a:ext>
            </a:extLst>
          </p:cNvPr>
          <p:cNvSpPr>
            <a:spLocks noGrp="1"/>
          </p:cNvSpPr>
          <p:nvPr>
            <p:ph type="body" sz="quarter" idx="11" hasCustomPrompt="1"/>
          </p:nvPr>
        </p:nvSpPr>
        <p:spPr>
          <a:xfrm>
            <a:off x="272272" y="1211263"/>
            <a:ext cx="11887200" cy="683264"/>
          </a:xfrm>
        </p:spPr>
        <p:txBody>
          <a:bodyPr/>
          <a:lstStyle>
            <a:lvl1pPr>
              <a:defRPr/>
            </a:lvl1pPr>
            <a:lvl2pPr>
              <a:defRPr/>
            </a:lvl2pPr>
          </a:lstStyle>
          <a:p>
            <a:pPr lvl="0"/>
            <a:r>
              <a:rPr lang="en-US" dirty="0"/>
              <a:t>&lt;&lt;overview&gt;&gt;</a:t>
            </a:r>
          </a:p>
        </p:txBody>
      </p:sp>
    </p:spTree>
    <p:extLst>
      <p:ext uri="{BB962C8B-B14F-4D97-AF65-F5344CB8AC3E}">
        <p14:creationId xmlns:p14="http://schemas.microsoft.com/office/powerpoint/2010/main" val="307137757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esson content V1 slid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lvl1pPr>
          </a:lstStyle>
          <a:p>
            <a:r>
              <a:rPr lang="en-US" dirty="0"/>
              <a:t>&lt;&lt;Topic&gt;&gt;</a:t>
            </a:r>
          </a:p>
        </p:txBody>
      </p:sp>
      <p:sp>
        <p:nvSpPr>
          <p:cNvPr id="3" name="Content Placeholder 2">
            <a:extLst>
              <a:ext uri="{FF2B5EF4-FFF2-40B4-BE49-F238E27FC236}">
                <a16:creationId xmlns:a16="http://schemas.microsoft.com/office/drawing/2014/main" id="{61BEADB5-993B-439C-91A9-F207CC6154E8}"/>
              </a:ext>
            </a:extLst>
          </p:cNvPr>
          <p:cNvSpPr>
            <a:spLocks noGrp="1"/>
          </p:cNvSpPr>
          <p:nvPr>
            <p:ph sz="quarter" idx="11" hasCustomPrompt="1"/>
          </p:nvPr>
        </p:nvSpPr>
        <p:spPr>
          <a:xfrm>
            <a:off x="274638" y="1216152"/>
            <a:ext cx="11888787" cy="5486400"/>
          </a:xfrm>
        </p:spPr>
        <p:txBody>
          <a:bodyPr/>
          <a:lstStyle>
            <a:lvl1pPr marL="0" indent="0">
              <a:buNone/>
              <a:defRPr/>
            </a:lvl1pPr>
          </a:lstStyle>
          <a:p>
            <a:pPr lvl="0"/>
            <a:r>
              <a:rPr lang="en-US" dirty="0"/>
              <a:t>&lt;&lt;add content/details/charts/</a:t>
            </a:r>
            <a:r>
              <a:rPr lang="en-US" dirty="0" err="1"/>
              <a:t>smartart</a:t>
            </a:r>
            <a:r>
              <a:rPr lang="en-US" dirty="0"/>
              <a:t>/images/bullets as needed&gt;&gt;</a:t>
            </a:r>
            <a:br>
              <a:rPr lang="en-US" dirty="0"/>
            </a:br>
            <a:br>
              <a:rPr lang="en-US" dirty="0"/>
            </a:br>
            <a:br>
              <a:rPr lang="en-US" dirty="0"/>
            </a:br>
            <a:br>
              <a:rPr lang="en-US" dirty="0"/>
            </a:br>
            <a:endParaRPr lang="en-US" dirty="0"/>
          </a:p>
        </p:txBody>
      </p:sp>
    </p:spTree>
    <p:extLst>
      <p:ext uri="{BB962C8B-B14F-4D97-AF65-F5344CB8AC3E}">
        <p14:creationId xmlns:p14="http://schemas.microsoft.com/office/powerpoint/2010/main" val="104934496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esson content V2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dirty="0"/>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11887200" cy="5486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331003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esson content V3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dirty="0"/>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5943599" cy="5486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4C4CCE46-6C48-4C12-BA5E-A467C5ACBEEF}"/>
              </a:ext>
            </a:extLst>
          </p:cNvPr>
          <p:cNvSpPr>
            <a:spLocks noGrp="1"/>
          </p:cNvSpPr>
          <p:nvPr>
            <p:ph type="pic" sz="quarter" idx="11" hasCustomPrompt="1"/>
          </p:nvPr>
        </p:nvSpPr>
        <p:spPr>
          <a:xfrm>
            <a:off x="6217920" y="1212850"/>
            <a:ext cx="5943601" cy="5486400"/>
          </a:xfrm>
        </p:spPr>
        <p:txBody>
          <a:bodyPr/>
          <a:lstStyle>
            <a:lvl1pPr>
              <a:defRPr/>
            </a:lvl1pPr>
          </a:lstStyle>
          <a:p>
            <a:r>
              <a:rPr lang="en-US" dirty="0"/>
              <a:t>&lt;&lt;picture of topic&gt;&gt;</a:t>
            </a:r>
          </a:p>
        </p:txBody>
      </p:sp>
    </p:spTree>
    <p:extLst>
      <p:ext uri="{BB962C8B-B14F-4D97-AF65-F5344CB8AC3E}">
        <p14:creationId xmlns:p14="http://schemas.microsoft.com/office/powerpoint/2010/main" val="299763435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sson content V4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dirty="0"/>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11887200" cy="2743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4C4CCE46-6C48-4C12-BA5E-A467C5ACBEEF}"/>
              </a:ext>
            </a:extLst>
          </p:cNvPr>
          <p:cNvSpPr>
            <a:spLocks noGrp="1"/>
          </p:cNvSpPr>
          <p:nvPr>
            <p:ph type="pic" sz="quarter" idx="11" hasCustomPrompt="1"/>
          </p:nvPr>
        </p:nvSpPr>
        <p:spPr>
          <a:xfrm>
            <a:off x="272274" y="3956048"/>
            <a:ext cx="11889564" cy="2743199"/>
          </a:xfrm>
        </p:spPr>
        <p:txBody>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a:lvl1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lt;&lt;picture of topic&gt;&gt;</a:t>
            </a:r>
          </a:p>
          <a:p>
            <a:endParaRPr lang="en-US" dirty="0"/>
          </a:p>
        </p:txBody>
      </p:sp>
    </p:spTree>
    <p:extLst>
      <p:ext uri="{BB962C8B-B14F-4D97-AF65-F5344CB8AC3E}">
        <p14:creationId xmlns:p14="http://schemas.microsoft.com/office/powerpoint/2010/main" val="31565954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esson content V5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dirty="0"/>
              <a:t>&lt;&lt;topic&gt;&gt;</a:t>
            </a:r>
          </a:p>
        </p:txBody>
      </p:sp>
      <p:sp>
        <p:nvSpPr>
          <p:cNvPr id="5" name="Picture Placeholder 4">
            <a:extLst>
              <a:ext uri="{FF2B5EF4-FFF2-40B4-BE49-F238E27FC236}">
                <a16:creationId xmlns:a16="http://schemas.microsoft.com/office/drawing/2014/main" id="{4C4CCE46-6C48-4C12-BA5E-A467C5ACBEEF}"/>
              </a:ext>
            </a:extLst>
          </p:cNvPr>
          <p:cNvSpPr>
            <a:spLocks noGrp="1"/>
          </p:cNvSpPr>
          <p:nvPr>
            <p:ph type="pic" sz="quarter" idx="11" hasCustomPrompt="1"/>
          </p:nvPr>
        </p:nvSpPr>
        <p:spPr>
          <a:xfrm>
            <a:off x="6218236" y="1212850"/>
            <a:ext cx="5943601" cy="5486398"/>
          </a:xfrm>
        </p:spPr>
        <p:txBody>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a:lvl1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lt;&lt;picture of topic&gt;&gt;</a:t>
            </a:r>
          </a:p>
          <a:p>
            <a:endParaRPr lang="en-US" dirty="0"/>
          </a:p>
        </p:txBody>
      </p:sp>
      <p:sp>
        <p:nvSpPr>
          <p:cNvPr id="6" name="Picture Placeholder 4">
            <a:extLst>
              <a:ext uri="{FF2B5EF4-FFF2-40B4-BE49-F238E27FC236}">
                <a16:creationId xmlns:a16="http://schemas.microsoft.com/office/drawing/2014/main" id="{C55733C9-C8F1-446E-9461-A87538003DB5}"/>
              </a:ext>
            </a:extLst>
          </p:cNvPr>
          <p:cNvSpPr>
            <a:spLocks noGrp="1"/>
          </p:cNvSpPr>
          <p:nvPr>
            <p:ph type="pic" sz="quarter" idx="12" hasCustomPrompt="1"/>
          </p:nvPr>
        </p:nvSpPr>
        <p:spPr>
          <a:xfrm>
            <a:off x="272269" y="1230954"/>
            <a:ext cx="5943601" cy="5486398"/>
          </a:xfrm>
        </p:spPr>
        <p:txBody>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a:lvl1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lt;&lt;picture of topic&gt;&gt;</a:t>
            </a:r>
          </a:p>
          <a:p>
            <a:endParaRPr lang="en-US" dirty="0"/>
          </a:p>
        </p:txBody>
      </p:sp>
    </p:spTree>
    <p:extLst>
      <p:ext uri="{BB962C8B-B14F-4D97-AF65-F5344CB8AC3E}">
        <p14:creationId xmlns:p14="http://schemas.microsoft.com/office/powerpoint/2010/main" val="199839484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s Slid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331719" y="292607"/>
            <a:ext cx="3429320" cy="914400"/>
          </a:xfrm>
        </p:spPr>
        <p:txBody>
          <a:bodyPr>
            <a:spAutoFit/>
          </a:bodyPr>
          <a:lstStyle>
            <a:lvl1pPr>
              <a:defRPr/>
            </a:lvl1pPr>
          </a:lstStyle>
          <a:p>
            <a:r>
              <a:rPr lang="en-US" dirty="0"/>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7"/>
            <a:ext cx="2057399" cy="923330"/>
          </a:xfrm>
          <a:prstGeom prst="rect">
            <a:avLst/>
          </a:prstGeom>
        </p:spPr>
        <p:txBody>
          <a:bodyPr wrap="square" lIns="146304" tIns="91440" rIns="146304" bIns="91440">
            <a:spAutoFit/>
          </a:bodyPr>
          <a:lstStyle/>
          <a:p>
            <a:pPr lvl="0"/>
            <a:r>
              <a:rPr lang="en-US" sz="4800" dirty="0">
                <a:latin typeface="+mj-lt"/>
              </a:rPr>
              <a:t>Demo:</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320" y="3017520"/>
            <a:ext cx="5486400" cy="27432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dirty="0">
                <a:latin typeface="+mn-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mj-lt"/>
                <a:ea typeface="+mn-ea"/>
                <a:cs typeface="+mn-cs"/>
              </a:rPr>
              <a:t>&lt;&lt; Add description of the demo&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dirty="0"/>
          </a:p>
        </p:txBody>
      </p:sp>
      <p:pic>
        <p:nvPicPr>
          <p:cNvPr id="7" name="Picture Placeholder 3">
            <a:extLst>
              <a:ext uri="{FF2B5EF4-FFF2-40B4-BE49-F238E27FC236}">
                <a16:creationId xmlns:a16="http://schemas.microsoft.com/office/drawing/2014/main" id="{C8AB17EB-AA1A-4C6B-AC50-9B86962C2A42}"/>
              </a:ext>
            </a:extLst>
          </p:cNvPr>
          <p:cNvPicPr>
            <a:picLocks noChangeAspect="1"/>
          </p:cNvPicPr>
          <p:nvPr userDrawn="1"/>
        </p:nvPicPr>
        <p:blipFill>
          <a:blip r:embed="rId2"/>
          <a:srcRect l="20120" r="20120"/>
          <a:stretch>
            <a:fillRect/>
          </a:stretch>
        </p:blipFill>
        <p:spPr>
          <a:xfrm>
            <a:off x="6219825" y="0"/>
            <a:ext cx="6216650" cy="6992587"/>
          </a:xfrm>
          <a:prstGeom prst="rect">
            <a:avLst/>
          </a:prstGeom>
        </p:spPr>
      </p:pic>
    </p:spTree>
    <p:extLst>
      <p:ext uri="{BB962C8B-B14F-4D97-AF65-F5344CB8AC3E}">
        <p14:creationId xmlns:p14="http://schemas.microsoft.com/office/powerpoint/2010/main" val="139871580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s Slide V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74319" y="1237045"/>
            <a:ext cx="5486400" cy="849463"/>
          </a:xfrm>
        </p:spPr>
        <p:txBody>
          <a:bodyPr wrap="square">
            <a:spAutoFit/>
          </a:bodyPr>
          <a:lstStyle>
            <a:lvl1pPr>
              <a:defRPr/>
            </a:lvl1pPr>
          </a:lstStyle>
          <a:p>
            <a:r>
              <a:rPr lang="en-US" dirty="0"/>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7"/>
            <a:ext cx="2057399" cy="923330"/>
          </a:xfrm>
          <a:prstGeom prst="rect">
            <a:avLst/>
          </a:prstGeom>
        </p:spPr>
        <p:txBody>
          <a:bodyPr wrap="square" lIns="146304" tIns="91440" rIns="146304" bIns="91440">
            <a:spAutoFit/>
          </a:bodyPr>
          <a:lstStyle/>
          <a:p>
            <a:pPr lvl="0"/>
            <a:r>
              <a:rPr lang="en-US" sz="4800" dirty="0">
                <a:latin typeface="+mj-lt"/>
              </a:rPr>
              <a:t>Demo:</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320" y="3017520"/>
            <a:ext cx="5486400" cy="27432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dirty="0">
                <a:latin typeface="+mn-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mj-lt"/>
                <a:ea typeface="+mn-ea"/>
                <a:cs typeface="+mn-cs"/>
              </a:rPr>
              <a:t>&lt;&lt; Add description of the demo&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dirty="0"/>
          </a:p>
        </p:txBody>
      </p:sp>
      <p:pic>
        <p:nvPicPr>
          <p:cNvPr id="7" name="Picture Placeholder 3">
            <a:extLst>
              <a:ext uri="{FF2B5EF4-FFF2-40B4-BE49-F238E27FC236}">
                <a16:creationId xmlns:a16="http://schemas.microsoft.com/office/drawing/2014/main" id="{C8AB17EB-AA1A-4C6B-AC50-9B86962C2A42}"/>
              </a:ext>
            </a:extLst>
          </p:cNvPr>
          <p:cNvPicPr>
            <a:picLocks noChangeAspect="1"/>
          </p:cNvPicPr>
          <p:nvPr userDrawn="1"/>
        </p:nvPicPr>
        <p:blipFill>
          <a:blip r:embed="rId2"/>
          <a:srcRect l="20120" r="20120"/>
          <a:stretch>
            <a:fillRect/>
          </a:stretch>
        </p:blipFill>
        <p:spPr>
          <a:xfrm>
            <a:off x="6219825" y="0"/>
            <a:ext cx="6216650" cy="6992587"/>
          </a:xfrm>
          <a:prstGeom prst="rect">
            <a:avLst/>
          </a:prstGeom>
        </p:spPr>
      </p:pic>
    </p:spTree>
    <p:extLst>
      <p:ext uri="{BB962C8B-B14F-4D97-AF65-F5344CB8AC3E}">
        <p14:creationId xmlns:p14="http://schemas.microsoft.com/office/powerpoint/2010/main" val="103821914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b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7A5DF2-09AC-47AD-B8C0-1CC44D475AE3}"/>
              </a:ext>
            </a:extLst>
          </p:cNvPr>
          <p:cNvPicPr>
            <a:picLocks noChangeAspect="1"/>
          </p:cNvPicPr>
          <p:nvPr userDrawn="1"/>
        </p:nvPicPr>
        <p:blipFill>
          <a:blip r:embed="rId2"/>
          <a:stretch>
            <a:fillRect/>
          </a:stretch>
        </p:blipFill>
        <p:spPr>
          <a:xfrm>
            <a:off x="6218237" y="1807"/>
            <a:ext cx="6218459" cy="6992718"/>
          </a:xfrm>
          <a:prstGeom prst="rect">
            <a:avLst/>
          </a:prstGeom>
        </p:spPr>
      </p:pic>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1646236" y="292607"/>
            <a:ext cx="4114802" cy="914400"/>
          </a:xfrm>
        </p:spPr>
        <p:txBody>
          <a:bodyPr>
            <a:spAutoFit/>
          </a:bodyPr>
          <a:lstStyle>
            <a:lvl1pPr>
              <a:defRPr/>
            </a:lvl1pPr>
          </a:lstStyle>
          <a:p>
            <a:r>
              <a:rPr lang="en-US" dirty="0"/>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8"/>
            <a:ext cx="1371917" cy="914400"/>
          </a:xfrm>
          <a:prstGeom prst="rect">
            <a:avLst/>
          </a:prstGeom>
        </p:spPr>
        <p:txBody>
          <a:bodyPr wrap="square" lIns="146304" tIns="91440" rIns="146304" bIns="91440">
            <a:spAutoFit/>
          </a:bodyPr>
          <a:lstStyle/>
          <a:p>
            <a:pPr lvl="0"/>
            <a:r>
              <a:rPr lang="en-US" sz="4800" dirty="0">
                <a:latin typeface="+mj-lt"/>
              </a:rPr>
              <a:t>Lab:</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637" y="3017520"/>
            <a:ext cx="5486401" cy="36576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b="1" i="0" baseline="0" dirty="0">
                <a:latin typeface="+mj-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mj-lt"/>
                <a:ea typeface="+mn-ea"/>
                <a:cs typeface="+mn-cs"/>
              </a:rPr>
              <a:t>&lt;&lt; Add Lab Exercises </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Exercise 1: Description</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Exercise 2: Description</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dirty="0"/>
          </a:p>
        </p:txBody>
      </p:sp>
    </p:spTree>
    <p:extLst>
      <p:ext uri="{BB962C8B-B14F-4D97-AF65-F5344CB8AC3E}">
        <p14:creationId xmlns:p14="http://schemas.microsoft.com/office/powerpoint/2010/main" val="89644882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b Slide V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7A5DF2-09AC-47AD-B8C0-1CC44D475AE3}"/>
              </a:ext>
            </a:extLst>
          </p:cNvPr>
          <p:cNvPicPr>
            <a:picLocks noChangeAspect="1"/>
          </p:cNvPicPr>
          <p:nvPr userDrawn="1"/>
        </p:nvPicPr>
        <p:blipFill>
          <a:blip r:embed="rId2"/>
          <a:stretch>
            <a:fillRect/>
          </a:stretch>
        </p:blipFill>
        <p:spPr>
          <a:xfrm>
            <a:off x="6218237" y="1807"/>
            <a:ext cx="6218459" cy="6992718"/>
          </a:xfrm>
          <a:prstGeom prst="rect">
            <a:avLst/>
          </a:prstGeom>
        </p:spPr>
      </p:pic>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74318" y="1207008"/>
            <a:ext cx="5486401" cy="849463"/>
          </a:xfrm>
        </p:spPr>
        <p:txBody>
          <a:bodyPr wrap="square">
            <a:spAutoFit/>
          </a:bodyPr>
          <a:lstStyle>
            <a:lvl1pPr>
              <a:defRPr/>
            </a:lvl1pPr>
          </a:lstStyle>
          <a:p>
            <a:r>
              <a:rPr lang="en-US" dirty="0"/>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8"/>
            <a:ext cx="1371917" cy="914400"/>
          </a:xfrm>
          <a:prstGeom prst="rect">
            <a:avLst/>
          </a:prstGeom>
        </p:spPr>
        <p:txBody>
          <a:bodyPr wrap="square" lIns="146304" tIns="91440" rIns="146304" bIns="91440">
            <a:spAutoFit/>
          </a:bodyPr>
          <a:lstStyle/>
          <a:p>
            <a:pPr lvl="0"/>
            <a:r>
              <a:rPr lang="en-US" sz="4800" dirty="0">
                <a:latin typeface="+mj-lt"/>
              </a:rPr>
              <a:t>Lab:</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637" y="3017520"/>
            <a:ext cx="5486401" cy="36576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b="1" i="0" baseline="0" dirty="0">
                <a:latin typeface="+mj-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05050"/>
                </a:solidFill>
                <a:effectLst/>
                <a:uLnTx/>
                <a:uFillTx/>
                <a:latin typeface="+mj-lt"/>
                <a:ea typeface="+mn-ea"/>
                <a:cs typeface="+mn-cs"/>
              </a:rPr>
              <a:t>&lt;&lt; Add Lab Exercises </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Exercise 1: Description</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Exercise 2: Description</a:t>
            </a:r>
            <a:br>
              <a:rPr kumimoji="0" lang="en-US" sz="3200" b="0" i="0" u="none" strike="noStrike" kern="1200" cap="none" spc="0" normalizeH="0" baseline="0" noProof="0" dirty="0">
                <a:ln>
                  <a:noFill/>
                </a:ln>
                <a:solidFill>
                  <a:srgbClr val="505050"/>
                </a:solidFill>
                <a:effectLst/>
                <a:uLnTx/>
                <a:uFillTx/>
                <a:latin typeface="+mj-lt"/>
                <a:ea typeface="+mn-ea"/>
                <a:cs typeface="+mn-cs"/>
              </a:rPr>
            </a:br>
            <a:r>
              <a:rPr kumimoji="0" lang="en-US" sz="3200" b="0" i="0" u="none" strike="noStrike" kern="1200" cap="none" spc="0" normalizeH="0" baseline="0" noProof="0" dirty="0">
                <a:ln>
                  <a:noFill/>
                </a:ln>
                <a:solidFill>
                  <a:srgbClr val="505050"/>
                </a:solidFill>
                <a:effectLst/>
                <a:uLnTx/>
                <a:uFillTx/>
                <a:latin typeface="+mj-lt"/>
                <a:ea typeface="+mn-ea"/>
                <a:cs typeface="+mn-cs"/>
              </a:rPr>
              <a:t>&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dirty="0"/>
          </a:p>
        </p:txBody>
      </p:sp>
    </p:spTree>
    <p:extLst>
      <p:ext uri="{BB962C8B-B14F-4D97-AF65-F5344CB8AC3E}">
        <p14:creationId xmlns:p14="http://schemas.microsoft.com/office/powerpoint/2010/main" val="51779700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Knowledge Chec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2E5CC4F-723D-4097-A367-2BEBAB8CF36C}"/>
              </a:ext>
            </a:extLst>
          </p:cNvPr>
          <p:cNvSpPr/>
          <p:nvPr userDrawn="1"/>
        </p:nvSpPr>
        <p:spPr>
          <a:xfrm>
            <a:off x="272272" y="295272"/>
            <a:ext cx="11889564" cy="914400"/>
          </a:xfrm>
          <a:prstGeom prst="rect">
            <a:avLst/>
          </a:prstGeom>
        </p:spPr>
        <p:txBody>
          <a:bodyPr wrap="square" lIns="146304" tIns="91440" rIns="146304" bIns="91440">
            <a:noAutofit/>
          </a:bodyPr>
          <a:lstStyle/>
          <a:p>
            <a:r>
              <a:rPr lang="en-US" sz="4800" dirty="0">
                <a:solidFill>
                  <a:schemeClr val="accent3"/>
                </a:solidFill>
                <a:latin typeface="+mj-lt"/>
              </a:rPr>
              <a:t>Knowledge Check</a:t>
            </a:r>
            <a:endParaRPr lang="en-US" sz="4800" dirty="0">
              <a:latin typeface="+mj-lt"/>
            </a:endParaRPr>
          </a:p>
        </p:txBody>
      </p:sp>
      <p:sp>
        <p:nvSpPr>
          <p:cNvPr id="5" name="Text Placeholder 4">
            <a:extLst>
              <a:ext uri="{FF2B5EF4-FFF2-40B4-BE49-F238E27FC236}">
                <a16:creationId xmlns:a16="http://schemas.microsoft.com/office/drawing/2014/main" id="{12AA7DFC-B089-4EFF-9CC5-F42DCAB1B648}"/>
              </a:ext>
            </a:extLst>
          </p:cNvPr>
          <p:cNvSpPr>
            <a:spLocks noGrp="1"/>
          </p:cNvSpPr>
          <p:nvPr>
            <p:ph type="body" sz="quarter" idx="10" hasCustomPrompt="1"/>
          </p:nvPr>
        </p:nvSpPr>
        <p:spPr>
          <a:xfrm>
            <a:off x="274320" y="1211262"/>
            <a:ext cx="11734800" cy="5487989"/>
          </a:xfrm>
        </p:spPr>
        <p:txBody>
          <a:bodyPr/>
          <a:lstStyle>
            <a:lvl1pPr>
              <a:defRPr/>
            </a:lvl1pPr>
            <a:lvl2pPr>
              <a:defRPr/>
            </a:lvl2pPr>
          </a:lstStyle>
          <a:p>
            <a:pPr lvl="0"/>
            <a:r>
              <a:rPr lang="en-US" dirty="0"/>
              <a:t>&lt;&lt;Question: &gt;&gt;</a:t>
            </a:r>
            <a:br>
              <a:rPr lang="en-US" dirty="0"/>
            </a:br>
            <a:r>
              <a:rPr lang="en-US" dirty="0"/>
              <a:t> &lt;&lt;Answer:&gt;&gt;</a:t>
            </a:r>
          </a:p>
        </p:txBody>
      </p:sp>
    </p:spTree>
    <p:extLst>
      <p:ext uri="{BB962C8B-B14F-4D97-AF65-F5344CB8AC3E}">
        <p14:creationId xmlns:p14="http://schemas.microsoft.com/office/powerpoint/2010/main" val="16022448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tmplLst>
          <p:tmpl lvl="1">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 lvl="2">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odule Summar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2E5CC4F-723D-4097-A367-2BEBAB8CF36C}"/>
              </a:ext>
            </a:extLst>
          </p:cNvPr>
          <p:cNvSpPr/>
          <p:nvPr userDrawn="1"/>
        </p:nvSpPr>
        <p:spPr>
          <a:xfrm>
            <a:off x="272272" y="295272"/>
            <a:ext cx="11889564" cy="923330"/>
          </a:xfrm>
          <a:prstGeom prst="rect">
            <a:avLst/>
          </a:prstGeom>
        </p:spPr>
        <p:txBody>
          <a:bodyPr wrap="square" lIns="146304" tIns="91440" rIns="146304" bIns="91440">
            <a:noAutofit/>
          </a:bodyPr>
          <a:lstStyle/>
          <a:p>
            <a:r>
              <a:rPr lang="en-US" sz="4800" dirty="0">
                <a:solidFill>
                  <a:schemeClr val="accent3"/>
                </a:solidFill>
                <a:latin typeface="+mj-lt"/>
              </a:rPr>
              <a:t>Module Summary</a:t>
            </a:r>
            <a:endParaRPr lang="en-US" sz="4800" dirty="0">
              <a:latin typeface="+mj-lt"/>
            </a:endParaRPr>
          </a:p>
        </p:txBody>
      </p:sp>
      <p:sp>
        <p:nvSpPr>
          <p:cNvPr id="5" name="Text Placeholder 4">
            <a:extLst>
              <a:ext uri="{FF2B5EF4-FFF2-40B4-BE49-F238E27FC236}">
                <a16:creationId xmlns:a16="http://schemas.microsoft.com/office/drawing/2014/main" id="{12AA7DFC-B089-4EFF-9CC5-F42DCAB1B648}"/>
              </a:ext>
            </a:extLst>
          </p:cNvPr>
          <p:cNvSpPr>
            <a:spLocks noGrp="1"/>
          </p:cNvSpPr>
          <p:nvPr>
            <p:ph type="body" sz="quarter" idx="10" hasCustomPrompt="1"/>
          </p:nvPr>
        </p:nvSpPr>
        <p:spPr>
          <a:xfrm>
            <a:off x="274320" y="1211262"/>
            <a:ext cx="11734800" cy="5487989"/>
          </a:xfrm>
        </p:spPr>
        <p:txBody>
          <a:bodyPr/>
          <a:lstStyle>
            <a:lvl1pPr>
              <a:defRPr/>
            </a:lvl1pPr>
            <a:lvl2pPr>
              <a:defRPr/>
            </a:lvl2pPr>
          </a:lstStyle>
          <a:p>
            <a:pPr lvl="0"/>
            <a:r>
              <a:rPr lang="en-US" dirty="0"/>
              <a:t>&lt;&lt;Key takeaways from the Module&gt;&gt;</a:t>
            </a:r>
          </a:p>
        </p:txBody>
      </p:sp>
    </p:spTree>
    <p:extLst>
      <p:ext uri="{BB962C8B-B14F-4D97-AF65-F5344CB8AC3E}">
        <p14:creationId xmlns:p14="http://schemas.microsoft.com/office/powerpoint/2010/main" val="4806674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tmplLst>
          <p:tmpl lvl="1">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 lvl="2">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20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248800106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theme" Target="../theme/theme2.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image" Target="../media/image1.pn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094" r:id="rId12"/>
    <p:sldLayoutId id="2147484268" r:id="rId13"/>
    <p:sldLayoutId id="2147484195" r:id="rId14"/>
    <p:sldLayoutId id="2147484096" r:id="rId15"/>
    <p:sldLayoutId id="2147484304" r:id="rId16"/>
    <p:sldLayoutId id="2147484305" r:id="rId17"/>
    <p:sldLayoutId id="2147484306" r:id="rId18"/>
    <p:sldLayoutId id="2147484307" r:id="rId19"/>
    <p:sldLayoutId id="2147484308" r:id="rId20"/>
    <p:sldLayoutId id="2147484309" r:id="rId21"/>
    <p:sldLayoutId id="2147484310"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accent3"/>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50004912"/>
      </p:ext>
    </p:extLst>
  </p:cSld>
  <p:clrMap bg1="lt1" tx1="dk1" bg2="lt2" tx2="dk2" accent1="accent1" accent2="accent2" accent3="accent3" accent4="accent4" accent5="accent5" accent6="accent6" hlink="hlink" folHlink="folHlink"/>
  <p:sldLayoutIdLst>
    <p:sldLayoutId id="2147484276" r:id="rId1"/>
    <p:sldLayoutId id="2147484288" r:id="rId2"/>
    <p:sldLayoutId id="2147484289" r:id="rId3"/>
    <p:sldLayoutId id="2147484296" r:id="rId4"/>
    <p:sldLayoutId id="2147484290" r:id="rId5"/>
    <p:sldLayoutId id="2147484297" r:id="rId6"/>
    <p:sldLayoutId id="2147484298" r:id="rId7"/>
    <p:sldLayoutId id="2147484299" r:id="rId8"/>
    <p:sldLayoutId id="2147484300" r:id="rId9"/>
    <p:sldLayoutId id="2147484301" r:id="rId10"/>
    <p:sldLayoutId id="2147484291" r:id="rId11"/>
    <p:sldLayoutId id="2147484302" r:id="rId12"/>
    <p:sldLayoutId id="2147484292" r:id="rId13"/>
    <p:sldLayoutId id="2147484303" r:id="rId14"/>
    <p:sldLayoutId id="2147484293" r:id="rId15"/>
    <p:sldLayoutId id="2147484294" r:id="rId16"/>
    <p:sldLayoutId id="2147484295" r:id="rId1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accent3"/>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9.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6.xml"/><Relationship Id="rId1" Type="http://schemas.openxmlformats.org/officeDocument/2006/relationships/tags" Target="../tags/ta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119177"/>
            <a:ext cx="6401117" cy="4045085"/>
          </a:xfrm>
          <a:solidFill>
            <a:srgbClr val="0078D7"/>
          </a:solidFill>
        </p:spPr>
        <p:txBody>
          <a:bodyPr/>
          <a:lstStyle/>
          <a:p>
            <a:r>
              <a:rPr lang="en-US" dirty="0">
                <a:cs typeface="Segoe UI"/>
              </a:rPr>
              <a:t>Module 7: Starting with connectors, screens, and controls</a:t>
            </a:r>
            <a:br>
              <a:rPr lang="en-US" sz="2800" dirty="0"/>
            </a:br>
            <a:br>
              <a:rPr lang="en-US" sz="2800" dirty="0"/>
            </a:br>
            <a:endParaRPr lang="en-US" sz="2400" dirty="0"/>
          </a:p>
        </p:txBody>
      </p:sp>
    </p:spTree>
    <p:extLst>
      <p:ext uri="{BB962C8B-B14F-4D97-AF65-F5344CB8AC3E}">
        <p14:creationId xmlns:p14="http://schemas.microsoft.com/office/powerpoint/2010/main" val="61629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5598909-3B90-499E-8CA4-0A9CCE082183}"/>
              </a:ext>
            </a:extLst>
          </p:cNvPr>
          <p:cNvSpPr>
            <a:spLocks noGrp="1"/>
          </p:cNvSpPr>
          <p:nvPr>
            <p:ph type="body" sz="quarter" idx="10"/>
          </p:nvPr>
        </p:nvSpPr>
        <p:spPr>
          <a:xfrm>
            <a:off x="274320" y="1211262"/>
            <a:ext cx="11734800" cy="1902059"/>
          </a:xfrm>
        </p:spPr>
        <p:txBody>
          <a:bodyPr/>
          <a:lstStyle/>
          <a:p>
            <a:r>
              <a:rPr lang="en-US" dirty="0"/>
              <a:t>Connector overview</a:t>
            </a:r>
          </a:p>
          <a:p>
            <a:r>
              <a:rPr lang="en-US" dirty="0"/>
              <a:t>Screens</a:t>
            </a:r>
          </a:p>
          <a:p>
            <a:r>
              <a:rPr lang="en-US" dirty="0"/>
              <a:t>Navigation</a:t>
            </a:r>
          </a:p>
        </p:txBody>
      </p:sp>
    </p:spTree>
    <p:extLst>
      <p:ext uri="{BB962C8B-B14F-4D97-AF65-F5344CB8AC3E}">
        <p14:creationId xmlns:p14="http://schemas.microsoft.com/office/powerpoint/2010/main" val="200465397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585236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odule Overview</a:t>
            </a:r>
          </a:p>
        </p:txBody>
      </p:sp>
      <p:sp>
        <p:nvSpPr>
          <p:cNvPr id="2" name="Text Placeholder 1">
            <a:extLst>
              <a:ext uri="{FF2B5EF4-FFF2-40B4-BE49-F238E27FC236}">
                <a16:creationId xmlns:a16="http://schemas.microsoft.com/office/drawing/2014/main" id="{5338C6D7-95C5-409E-9F00-EA69F550067E}"/>
              </a:ext>
            </a:extLst>
          </p:cNvPr>
          <p:cNvSpPr>
            <a:spLocks noGrp="1"/>
          </p:cNvSpPr>
          <p:nvPr>
            <p:ph type="body" sz="quarter" idx="11"/>
          </p:nvPr>
        </p:nvSpPr>
        <p:spPr>
          <a:xfrm>
            <a:off x="272272" y="1211263"/>
            <a:ext cx="11887200" cy="2511457"/>
          </a:xfrm>
        </p:spPr>
        <p:txBody>
          <a:bodyPr/>
          <a:lstStyle/>
          <a:p>
            <a:r>
              <a:rPr lang="en-US"/>
              <a:t>Screens</a:t>
            </a:r>
            <a:endParaRPr lang="en-US" dirty="0"/>
          </a:p>
          <a:p>
            <a:r>
              <a:rPr lang="en-US" dirty="0"/>
              <a:t>Navigation</a:t>
            </a:r>
          </a:p>
          <a:p>
            <a:endParaRPr lang="en-US" dirty="0"/>
          </a:p>
          <a:p>
            <a:endParaRPr lang="en-US" dirty="0"/>
          </a:p>
        </p:txBody>
      </p:sp>
    </p:spTree>
    <p:extLst>
      <p:ext uri="{BB962C8B-B14F-4D97-AF65-F5344CB8AC3E}">
        <p14:creationId xmlns:p14="http://schemas.microsoft.com/office/powerpoint/2010/main" val="239920321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2">
            <a:extLst>
              <a:ext uri="{FF2B5EF4-FFF2-40B4-BE49-F238E27FC236}">
                <a16:creationId xmlns:a16="http://schemas.microsoft.com/office/drawing/2014/main" id="{6F9EB9F2-07E2-4D64-BBD8-BB5B217F1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8012" y="326411"/>
            <a:ext cx="11780450" cy="6341702"/>
          </a:xfrm>
          <a:prstGeom prst="rect">
            <a:avLst/>
          </a:prstGeom>
          <a:solidFill>
            <a:schemeClr val="tx1">
              <a:alpha val="12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4B90FCF2-EECD-430D-9A80-C888748FFCE6}"/>
              </a:ext>
            </a:extLst>
          </p:cNvPr>
          <p:cNvSpPr>
            <a:spLocks noGrp="1"/>
          </p:cNvSpPr>
          <p:nvPr>
            <p:ph type="title"/>
          </p:nvPr>
        </p:nvSpPr>
        <p:spPr>
          <a:xfrm>
            <a:off x="4495553" y="1364536"/>
            <a:ext cx="6901752" cy="4265449"/>
          </a:xfrm>
        </p:spPr>
        <p:txBody>
          <a:bodyPr vert="horz" lIns="91440" tIns="45720" rIns="91440" bIns="45720" rtlCol="0" anchor="ctr">
            <a:normAutofit/>
          </a:bodyPr>
          <a:lstStyle/>
          <a:p>
            <a:pPr defTabSz="914400"/>
            <a:r>
              <a:rPr lang="en-US" sz="5500" kern="1200" dirty="0">
                <a:solidFill>
                  <a:schemeClr val="tx1">
                    <a:lumMod val="85000"/>
                    <a:lumOff val="15000"/>
                  </a:schemeClr>
                </a:solidFill>
                <a:latin typeface="+mj-lt"/>
                <a:ea typeface="+mj-ea"/>
                <a:cs typeface="+mj-cs"/>
              </a:rPr>
              <a:t>Screens</a:t>
            </a:r>
            <a:br>
              <a:rPr lang="en-US" sz="5500" kern="1200" dirty="0">
                <a:solidFill>
                  <a:schemeClr val="tx1">
                    <a:lumMod val="85000"/>
                    <a:lumOff val="15000"/>
                  </a:schemeClr>
                </a:solidFill>
                <a:latin typeface="+mj-lt"/>
                <a:ea typeface="+mj-ea"/>
                <a:cs typeface="+mj-cs"/>
              </a:rPr>
            </a:br>
            <a:endParaRPr lang="en-US" sz="5500" kern="1200" dirty="0">
              <a:solidFill>
                <a:schemeClr val="tx1">
                  <a:lumMod val="85000"/>
                  <a:lumOff val="15000"/>
                </a:schemeClr>
              </a:solidFill>
              <a:latin typeface="+mj-lt"/>
              <a:ea typeface="+mj-ea"/>
              <a:cs typeface="+mj-cs"/>
            </a:endParaRPr>
          </a:p>
        </p:txBody>
      </p:sp>
      <p:cxnSp>
        <p:nvCxnSpPr>
          <p:cNvPr id="30" name="Straight Connector 24">
            <a:extLst>
              <a:ext uri="{FF2B5EF4-FFF2-40B4-BE49-F238E27FC236}">
                <a16:creationId xmlns:a16="http://schemas.microsoft.com/office/drawing/2014/main" id="{F0C57C7C-DFE9-4A1E-B7A9-DF40E63366B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137220" y="2098356"/>
            <a:ext cx="0" cy="279781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722058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8D7"/>
                </a:solidFill>
                <a:cs typeface="Segoe UI"/>
              </a:rPr>
              <a:t>Screens and controls</a:t>
            </a:r>
          </a:p>
        </p:txBody>
      </p:sp>
      <p:sp>
        <p:nvSpPr>
          <p:cNvPr id="6" name="TextBox 5"/>
          <p:cNvSpPr txBox="1"/>
          <p:nvPr/>
        </p:nvSpPr>
        <p:spPr>
          <a:xfrm>
            <a:off x="3575791" y="3835265"/>
            <a:ext cx="1559382" cy="647165"/>
          </a:xfrm>
          <a:prstGeom prst="rect">
            <a:avLst/>
          </a:prstGeom>
          <a:noFill/>
        </p:spPr>
        <p:txBody>
          <a:bodyPr wrap="none" lIns="186521" tIns="149217" rIns="186521" bIns="149217" rtlCol="0">
            <a:spAutoFit/>
          </a:bodyPr>
          <a:lstStyle/>
          <a:p>
            <a:pPr>
              <a:lnSpc>
                <a:spcPct val="90000"/>
              </a:lnSpc>
              <a:spcAft>
                <a:spcPts val="612"/>
              </a:spcAft>
            </a:pPr>
            <a:r>
              <a:rPr lang="en-US" sz="2448" dirty="0">
                <a:gradFill>
                  <a:gsLst>
                    <a:gs pos="2917">
                      <a:schemeClr val="tx1"/>
                    </a:gs>
                    <a:gs pos="30000">
                      <a:schemeClr val="tx1"/>
                    </a:gs>
                  </a:gsLst>
                  <a:lin ang="5400000" scaled="0"/>
                </a:gradFill>
              </a:rPr>
              <a:t>Controls</a:t>
            </a:r>
          </a:p>
        </p:txBody>
      </p:sp>
      <p:sp>
        <p:nvSpPr>
          <p:cNvPr id="16" name="TextBox 15"/>
          <p:cNvSpPr txBox="1"/>
          <p:nvPr/>
        </p:nvSpPr>
        <p:spPr>
          <a:xfrm>
            <a:off x="3395597" y="2591413"/>
            <a:ext cx="1451478" cy="647165"/>
          </a:xfrm>
          <a:prstGeom prst="rect">
            <a:avLst/>
          </a:prstGeom>
          <a:noFill/>
        </p:spPr>
        <p:txBody>
          <a:bodyPr wrap="none" lIns="186521" tIns="149217" rIns="186521" bIns="149217" rtlCol="0">
            <a:spAutoFit/>
          </a:bodyPr>
          <a:lstStyle/>
          <a:p>
            <a:pPr>
              <a:lnSpc>
                <a:spcPct val="90000"/>
              </a:lnSpc>
              <a:spcAft>
                <a:spcPts val="612"/>
              </a:spcAft>
            </a:pPr>
            <a:r>
              <a:rPr lang="en-US" sz="2448" dirty="0">
                <a:gradFill>
                  <a:gsLst>
                    <a:gs pos="2917">
                      <a:schemeClr val="tx1"/>
                    </a:gs>
                    <a:gs pos="30000">
                      <a:schemeClr val="tx1"/>
                    </a:gs>
                  </a:gsLst>
                  <a:lin ang="5400000" scaled="0"/>
                </a:gradFill>
              </a:rPr>
              <a:t>Screens</a:t>
            </a:r>
          </a:p>
        </p:txBody>
      </p:sp>
      <p:pic>
        <p:nvPicPr>
          <p:cNvPr id="5" name="Picture 4">
            <a:extLst>
              <a:ext uri="{FF2B5EF4-FFF2-40B4-BE49-F238E27FC236}">
                <a16:creationId xmlns:a16="http://schemas.microsoft.com/office/drawing/2014/main" id="{14B8D2B4-2DA2-485E-AE75-814AA0EAE63C}"/>
              </a:ext>
            </a:extLst>
          </p:cNvPr>
          <p:cNvPicPr>
            <a:picLocks noChangeAspect="1"/>
          </p:cNvPicPr>
          <p:nvPr/>
        </p:nvPicPr>
        <p:blipFill>
          <a:blip r:embed="rId3"/>
          <a:stretch>
            <a:fillRect/>
          </a:stretch>
        </p:blipFill>
        <p:spPr>
          <a:xfrm>
            <a:off x="239345" y="1299910"/>
            <a:ext cx="2613160" cy="4907311"/>
          </a:xfrm>
          <a:prstGeom prst="rect">
            <a:avLst/>
          </a:prstGeom>
        </p:spPr>
      </p:pic>
      <p:cxnSp>
        <p:nvCxnSpPr>
          <p:cNvPr id="7" name="Straight Arrow Connector 6">
            <a:extLst>
              <a:ext uri="{FF2B5EF4-FFF2-40B4-BE49-F238E27FC236}">
                <a16:creationId xmlns:a16="http://schemas.microsoft.com/office/drawing/2014/main" id="{7A7C7DEE-8296-428E-AF86-9BBF72095878}"/>
              </a:ext>
            </a:extLst>
          </p:cNvPr>
          <p:cNvCxnSpPr>
            <a:cxnSpLocks/>
            <a:stCxn id="16" idx="1"/>
          </p:cNvCxnSpPr>
          <p:nvPr/>
        </p:nvCxnSpPr>
        <p:spPr>
          <a:xfrm flipH="1" flipV="1">
            <a:off x="1885933" y="2651915"/>
            <a:ext cx="1509664" cy="263081"/>
          </a:xfrm>
          <a:prstGeom prst="straightConnector1">
            <a:avLst/>
          </a:prstGeom>
          <a:ln w="57150">
            <a:headEnd type="none"/>
            <a:tailEnd type="triangle"/>
          </a:ln>
        </p:spPr>
        <p:style>
          <a:lnRef idx="2">
            <a:schemeClr val="accent2"/>
          </a:lnRef>
          <a:fillRef idx="0">
            <a:schemeClr val="accent2"/>
          </a:fillRef>
          <a:effectRef idx="1">
            <a:schemeClr val="accent2"/>
          </a:effectRef>
          <a:fontRef idx="minor">
            <a:schemeClr val="tx1"/>
          </a:fontRef>
        </p:style>
      </p:cxnSp>
      <p:cxnSp>
        <p:nvCxnSpPr>
          <p:cNvPr id="14" name="Straight Arrow Connector 13">
            <a:extLst>
              <a:ext uri="{FF2B5EF4-FFF2-40B4-BE49-F238E27FC236}">
                <a16:creationId xmlns:a16="http://schemas.microsoft.com/office/drawing/2014/main" id="{854DAF1C-8934-4589-B12E-99748750D324}"/>
              </a:ext>
            </a:extLst>
          </p:cNvPr>
          <p:cNvCxnSpPr>
            <a:cxnSpLocks/>
            <a:stCxn id="16" idx="1"/>
          </p:cNvCxnSpPr>
          <p:nvPr/>
        </p:nvCxnSpPr>
        <p:spPr>
          <a:xfrm flipH="1">
            <a:off x="1885933" y="2914996"/>
            <a:ext cx="1509664" cy="24675"/>
          </a:xfrm>
          <a:prstGeom prst="straightConnector1">
            <a:avLst/>
          </a:prstGeom>
          <a:ln w="57150">
            <a:headEnd type="none"/>
            <a:tailEnd type="triangle"/>
          </a:ln>
        </p:spPr>
        <p:style>
          <a:lnRef idx="2">
            <a:schemeClr val="accent2"/>
          </a:lnRef>
          <a:fillRef idx="0">
            <a:schemeClr val="accent2"/>
          </a:fillRef>
          <a:effectRef idx="1">
            <a:schemeClr val="accent2"/>
          </a:effectRef>
          <a:fontRef idx="minor">
            <a:schemeClr val="tx1"/>
          </a:fontRef>
        </p:style>
      </p:cxnSp>
      <p:pic>
        <p:nvPicPr>
          <p:cNvPr id="31" name="Picture 30">
            <a:extLst>
              <a:ext uri="{FF2B5EF4-FFF2-40B4-BE49-F238E27FC236}">
                <a16:creationId xmlns:a16="http://schemas.microsoft.com/office/drawing/2014/main" id="{8CF71A76-8C0C-4C07-98D7-E27FC8EAACA7}"/>
              </a:ext>
            </a:extLst>
          </p:cNvPr>
          <p:cNvPicPr>
            <a:picLocks noChangeAspect="1"/>
          </p:cNvPicPr>
          <p:nvPr/>
        </p:nvPicPr>
        <p:blipFill>
          <a:blip r:embed="rId4"/>
          <a:stretch>
            <a:fillRect/>
          </a:stretch>
        </p:blipFill>
        <p:spPr>
          <a:xfrm>
            <a:off x="5874034" y="1212849"/>
            <a:ext cx="4948249" cy="4990183"/>
          </a:xfrm>
          <a:prstGeom prst="rect">
            <a:avLst/>
          </a:prstGeom>
        </p:spPr>
      </p:pic>
      <p:cxnSp>
        <p:nvCxnSpPr>
          <p:cNvPr id="33" name="Straight Arrow Connector 32">
            <a:extLst>
              <a:ext uri="{FF2B5EF4-FFF2-40B4-BE49-F238E27FC236}">
                <a16:creationId xmlns:a16="http://schemas.microsoft.com/office/drawing/2014/main" id="{7EB6BD32-1E60-478C-B58B-5CE3BA39A93D}"/>
              </a:ext>
            </a:extLst>
          </p:cNvPr>
          <p:cNvCxnSpPr>
            <a:cxnSpLocks/>
            <a:stCxn id="6" idx="3"/>
          </p:cNvCxnSpPr>
          <p:nvPr/>
        </p:nvCxnSpPr>
        <p:spPr>
          <a:xfrm flipV="1">
            <a:off x="5135173" y="3000736"/>
            <a:ext cx="823850" cy="1158112"/>
          </a:xfrm>
          <a:prstGeom prst="straightConnector1">
            <a:avLst/>
          </a:prstGeom>
          <a:ln w="57150">
            <a:headEnd type="none"/>
            <a:tailEnd type="triangle"/>
          </a:ln>
        </p:spPr>
        <p:style>
          <a:lnRef idx="2">
            <a:schemeClr val="accent2"/>
          </a:lnRef>
          <a:fillRef idx="0">
            <a:schemeClr val="accent2"/>
          </a:fillRef>
          <a:effectRef idx="1">
            <a:schemeClr val="accent2"/>
          </a:effectRef>
          <a:fontRef idx="minor">
            <a:schemeClr val="tx1"/>
          </a:fontRef>
        </p:style>
      </p:cxnSp>
      <p:cxnSp>
        <p:nvCxnSpPr>
          <p:cNvPr id="37" name="Straight Arrow Connector 36">
            <a:extLst>
              <a:ext uri="{FF2B5EF4-FFF2-40B4-BE49-F238E27FC236}">
                <a16:creationId xmlns:a16="http://schemas.microsoft.com/office/drawing/2014/main" id="{1DBC5F0D-B114-4683-A093-1825C4EA5F13}"/>
              </a:ext>
            </a:extLst>
          </p:cNvPr>
          <p:cNvCxnSpPr>
            <a:cxnSpLocks/>
            <a:stCxn id="6" idx="3"/>
          </p:cNvCxnSpPr>
          <p:nvPr/>
        </p:nvCxnSpPr>
        <p:spPr>
          <a:xfrm>
            <a:off x="5135173" y="4158848"/>
            <a:ext cx="1692664" cy="115601"/>
          </a:xfrm>
          <a:prstGeom prst="straightConnector1">
            <a:avLst/>
          </a:prstGeom>
          <a:ln w="57150">
            <a:headEnd type="none"/>
            <a:tailEnd type="triangle"/>
          </a:ln>
        </p:spPr>
        <p:style>
          <a:lnRef idx="2">
            <a:schemeClr val="accent2"/>
          </a:lnRef>
          <a:fillRef idx="0">
            <a:schemeClr val="accent2"/>
          </a:fillRef>
          <a:effectRef idx="1">
            <a:schemeClr val="accent2"/>
          </a:effectRef>
          <a:fontRef idx="minor">
            <a:schemeClr val="tx1"/>
          </a:fontRef>
        </p:style>
      </p:cxnSp>
      <p:cxnSp>
        <p:nvCxnSpPr>
          <p:cNvPr id="47" name="Straight Arrow Connector 46">
            <a:extLst>
              <a:ext uri="{FF2B5EF4-FFF2-40B4-BE49-F238E27FC236}">
                <a16:creationId xmlns:a16="http://schemas.microsoft.com/office/drawing/2014/main" id="{417B4318-9A7F-4E32-B7AD-3C1E68212A85}"/>
              </a:ext>
            </a:extLst>
          </p:cNvPr>
          <p:cNvCxnSpPr>
            <a:cxnSpLocks/>
          </p:cNvCxnSpPr>
          <p:nvPr/>
        </p:nvCxnSpPr>
        <p:spPr>
          <a:xfrm flipH="1" flipV="1">
            <a:off x="1885933" y="3943130"/>
            <a:ext cx="1847026" cy="352931"/>
          </a:xfrm>
          <a:prstGeom prst="straightConnector1">
            <a:avLst/>
          </a:prstGeom>
          <a:ln w="57150">
            <a:headEnd type="none"/>
            <a:tailEnd type="triangle"/>
          </a:ln>
        </p:spPr>
        <p:style>
          <a:lnRef idx="2">
            <a:schemeClr val="accent2"/>
          </a:lnRef>
          <a:fillRef idx="0">
            <a:schemeClr val="accent2"/>
          </a:fillRef>
          <a:effectRef idx="1">
            <a:schemeClr val="accent2"/>
          </a:effectRef>
          <a:fontRef idx="minor">
            <a:schemeClr val="tx1"/>
          </a:fontRef>
        </p:style>
      </p:cxnSp>
      <p:cxnSp>
        <p:nvCxnSpPr>
          <p:cNvPr id="51" name="Straight Arrow Connector 50">
            <a:extLst>
              <a:ext uri="{FF2B5EF4-FFF2-40B4-BE49-F238E27FC236}">
                <a16:creationId xmlns:a16="http://schemas.microsoft.com/office/drawing/2014/main" id="{B71AA4C2-E597-46F0-9CCE-A6D7929EC3EB}"/>
              </a:ext>
            </a:extLst>
          </p:cNvPr>
          <p:cNvCxnSpPr>
            <a:cxnSpLocks/>
          </p:cNvCxnSpPr>
          <p:nvPr/>
        </p:nvCxnSpPr>
        <p:spPr>
          <a:xfrm flipH="1">
            <a:off x="1874839" y="4296061"/>
            <a:ext cx="1896661" cy="725201"/>
          </a:xfrm>
          <a:prstGeom prst="straightConnector1">
            <a:avLst/>
          </a:prstGeom>
          <a:ln w="57150">
            <a:headEnd type="none"/>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409349645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6EB64-FD4C-459D-B464-A3D329DB8677}"/>
              </a:ext>
            </a:extLst>
          </p:cNvPr>
          <p:cNvSpPr>
            <a:spLocks noGrp="1"/>
          </p:cNvSpPr>
          <p:nvPr>
            <p:ph type="title"/>
          </p:nvPr>
        </p:nvSpPr>
        <p:spPr/>
        <p:txBody>
          <a:bodyPr/>
          <a:lstStyle/>
          <a:p>
            <a:r>
              <a:rPr lang="en-US" dirty="0">
                <a:solidFill>
                  <a:srgbClr val="0078D7"/>
                </a:solidFill>
                <a:cs typeface="Segoe UI"/>
              </a:rPr>
              <a:t>Screen Templates</a:t>
            </a:r>
          </a:p>
        </p:txBody>
      </p:sp>
      <p:sp>
        <p:nvSpPr>
          <p:cNvPr id="3" name="Text Placeholder 2">
            <a:extLst>
              <a:ext uri="{FF2B5EF4-FFF2-40B4-BE49-F238E27FC236}">
                <a16:creationId xmlns:a16="http://schemas.microsoft.com/office/drawing/2014/main" id="{C497D5A6-330C-4DB4-8B38-BFF51F04CBA8}"/>
              </a:ext>
            </a:extLst>
          </p:cNvPr>
          <p:cNvSpPr>
            <a:spLocks noGrp="1"/>
          </p:cNvSpPr>
          <p:nvPr>
            <p:ph type="body" sz="quarter" idx="10"/>
          </p:nvPr>
        </p:nvSpPr>
        <p:spPr>
          <a:xfrm>
            <a:off x="274638" y="1212850"/>
            <a:ext cx="3276599" cy="5503045"/>
          </a:xfrm>
        </p:spPr>
        <p:txBody>
          <a:bodyPr vert="horz" wrap="square" lIns="146304" tIns="91440" rIns="146304" bIns="91440" rtlCol="0" anchor="t">
            <a:spAutoFit/>
          </a:bodyPr>
          <a:lstStyle/>
          <a:p>
            <a:r>
              <a:rPr lang="en-US" sz="3200" dirty="0"/>
              <a:t>Blank</a:t>
            </a:r>
            <a:endParaRPr lang="en-US" sz="3200" dirty="0">
              <a:cs typeface="Segoe UI Light"/>
            </a:endParaRPr>
          </a:p>
          <a:p>
            <a:r>
              <a:rPr lang="en-US" sz="3200" dirty="0"/>
              <a:t>Scrollable</a:t>
            </a:r>
            <a:endParaRPr lang="en-US" sz="3200" dirty="0">
              <a:cs typeface="Segoe UI Light"/>
            </a:endParaRPr>
          </a:p>
          <a:p>
            <a:r>
              <a:rPr lang="en-US" sz="3200" dirty="0"/>
              <a:t>List</a:t>
            </a:r>
            <a:endParaRPr lang="en-US" sz="3200" dirty="0">
              <a:cs typeface="Segoe UI Light"/>
            </a:endParaRPr>
          </a:p>
          <a:p>
            <a:r>
              <a:rPr lang="en-US" sz="3200" dirty="0"/>
              <a:t>Success</a:t>
            </a:r>
            <a:endParaRPr lang="en-US" sz="3200" dirty="0">
              <a:cs typeface="Segoe UI Light"/>
            </a:endParaRPr>
          </a:p>
          <a:p>
            <a:r>
              <a:rPr lang="en-US" sz="3200" dirty="0"/>
              <a:t>Tutorial</a:t>
            </a:r>
            <a:endParaRPr lang="en-US" sz="3200" dirty="0">
              <a:cs typeface="Segoe UI Light"/>
            </a:endParaRPr>
          </a:p>
          <a:p>
            <a:r>
              <a:rPr lang="en-US" sz="3200" dirty="0"/>
              <a:t>Email</a:t>
            </a:r>
            <a:endParaRPr lang="en-US" sz="3200" dirty="0">
              <a:cs typeface="Segoe UI Light"/>
            </a:endParaRPr>
          </a:p>
          <a:p>
            <a:r>
              <a:rPr lang="en-US" sz="3200" dirty="0"/>
              <a:t>People</a:t>
            </a:r>
            <a:endParaRPr lang="en-US" sz="3200" dirty="0">
              <a:cs typeface="Segoe UI Light"/>
            </a:endParaRPr>
          </a:p>
          <a:p>
            <a:r>
              <a:rPr lang="en-US" sz="3200" dirty="0"/>
              <a:t>Meeting</a:t>
            </a:r>
            <a:endParaRPr lang="en-US" sz="3200" dirty="0">
              <a:cs typeface="Segoe UI Light"/>
            </a:endParaRPr>
          </a:p>
          <a:p>
            <a:r>
              <a:rPr lang="en-US" sz="3200" dirty="0"/>
              <a:t>Calendar</a:t>
            </a:r>
            <a:endParaRPr lang="en-US" sz="3200" dirty="0">
              <a:cs typeface="Segoe UI Light"/>
            </a:endParaRPr>
          </a:p>
          <a:p>
            <a:endParaRPr lang="en-US" sz="3200" dirty="0">
              <a:cs typeface="Segoe UI Light"/>
            </a:endParaRPr>
          </a:p>
        </p:txBody>
      </p:sp>
      <p:sp>
        <p:nvSpPr>
          <p:cNvPr id="5" name="TextBox 4">
            <a:extLst>
              <a:ext uri="{FF2B5EF4-FFF2-40B4-BE49-F238E27FC236}">
                <a16:creationId xmlns:a16="http://schemas.microsoft.com/office/drawing/2014/main" id="{920DB69D-009B-419C-9C46-0C582BAEAD46}"/>
              </a:ext>
            </a:extLst>
          </p:cNvPr>
          <p:cNvSpPr txBox="1"/>
          <p:nvPr/>
        </p:nvSpPr>
        <p:spPr>
          <a:xfrm>
            <a:off x="7589838" y="1212849"/>
            <a:ext cx="3657600" cy="4925451"/>
          </a:xfrm>
          <a:prstGeom prst="rect">
            <a:avLst/>
          </a:prstGeom>
          <a:noFill/>
        </p:spPr>
        <p:txBody>
          <a:bodyPr wrap="square" lIns="182880" tIns="146304" rIns="182880" bIns="146304" rtlCol="0" anchor="t">
            <a:spAutoFit/>
          </a:bodyPr>
          <a:lstStyle/>
          <a:p>
            <a:pPr marL="457200" indent="-457200">
              <a:lnSpc>
                <a:spcPct val="90000"/>
              </a:lnSpc>
              <a:spcAft>
                <a:spcPts val="1000"/>
              </a:spcAft>
              <a:buAutoNum type="arabicPeriod"/>
            </a:pPr>
            <a:r>
              <a:rPr lang="en-US" sz="2400" dirty="0">
                <a:gradFill>
                  <a:gsLst>
                    <a:gs pos="2917">
                      <a:schemeClr val="tx1"/>
                    </a:gs>
                    <a:gs pos="30000">
                      <a:schemeClr val="tx1"/>
                    </a:gs>
                  </a:gsLst>
                  <a:lin ang="5400000" scaled="0"/>
                </a:gradFill>
              </a:rPr>
              <a:t>Templates can be further customized</a:t>
            </a:r>
            <a:endParaRPr lang="en-US"/>
          </a:p>
          <a:p>
            <a:pPr marL="457200" indent="-457200">
              <a:lnSpc>
                <a:spcPct val="90000"/>
              </a:lnSpc>
              <a:spcAft>
                <a:spcPts val="1000"/>
              </a:spcAft>
              <a:buAutoNum type="arabicPeriod"/>
            </a:pPr>
            <a:r>
              <a:rPr lang="en-US" sz="2400" dirty="0">
                <a:gradFill>
                  <a:gsLst>
                    <a:gs pos="2917">
                      <a:schemeClr val="tx1"/>
                    </a:gs>
                    <a:gs pos="30000">
                      <a:schemeClr val="tx1"/>
                    </a:gs>
                  </a:gsLst>
                  <a:lin ang="5400000" scaled="0"/>
                </a:gradFill>
              </a:rPr>
              <a:t>Designed to work together, using shared collection like MyPeople</a:t>
            </a:r>
            <a:endParaRPr lang="en-US" sz="2400" dirty="0">
              <a:gradFill>
                <a:gsLst>
                  <a:gs pos="2917">
                    <a:schemeClr val="tx1"/>
                  </a:gs>
                  <a:gs pos="30000">
                    <a:schemeClr val="tx1"/>
                  </a:gs>
                </a:gsLst>
                <a:lin ang="5400000" scaled="0"/>
              </a:gradFill>
              <a:cs typeface="Segoe UI"/>
            </a:endParaRPr>
          </a:p>
          <a:p>
            <a:pPr marL="457200" indent="-457200">
              <a:lnSpc>
                <a:spcPct val="90000"/>
              </a:lnSpc>
              <a:spcAft>
                <a:spcPts val="1000"/>
              </a:spcAft>
              <a:buAutoNum type="arabicPeriod"/>
            </a:pPr>
            <a:r>
              <a:rPr lang="en-US" sz="2400" dirty="0">
                <a:gradFill>
                  <a:gsLst>
                    <a:gs pos="2917">
                      <a:schemeClr val="tx1"/>
                    </a:gs>
                    <a:gs pos="30000">
                      <a:schemeClr val="tx1"/>
                    </a:gs>
                  </a:gsLst>
                  <a:lin ang="5400000" scaled="0"/>
                </a:gradFill>
              </a:rPr>
              <a:t>Navigation is not by default</a:t>
            </a:r>
            <a:endParaRPr lang="en-US" sz="2400" dirty="0">
              <a:gradFill>
                <a:gsLst>
                  <a:gs pos="2917">
                    <a:schemeClr val="tx1"/>
                  </a:gs>
                  <a:gs pos="30000">
                    <a:schemeClr val="tx1"/>
                  </a:gs>
                </a:gsLst>
                <a:lin ang="5400000" scaled="0"/>
              </a:gradFill>
              <a:cs typeface="Segoe UI"/>
            </a:endParaRPr>
          </a:p>
          <a:p>
            <a:pPr marL="457200" indent="-457200">
              <a:lnSpc>
                <a:spcPct val="90000"/>
              </a:lnSpc>
              <a:spcAft>
                <a:spcPts val="1000"/>
              </a:spcAft>
              <a:buAutoNum type="arabicPeriod"/>
            </a:pPr>
            <a:r>
              <a:rPr lang="en-US" sz="2400" dirty="0">
                <a:gradFill>
                  <a:gsLst>
                    <a:gs pos="2917">
                      <a:schemeClr val="tx1"/>
                    </a:gs>
                    <a:gs pos="30000">
                      <a:schemeClr val="tx1"/>
                    </a:gs>
                  </a:gsLst>
                  <a:lin ang="5400000" scaled="0"/>
                </a:gradFill>
              </a:rPr>
              <a:t>Limitations on searches:</a:t>
            </a:r>
            <a:endParaRPr lang="en-US" sz="2400" dirty="0">
              <a:gradFill>
                <a:gsLst>
                  <a:gs pos="2917">
                    <a:schemeClr val="tx1"/>
                  </a:gs>
                  <a:gs pos="30000">
                    <a:schemeClr val="tx1"/>
                  </a:gs>
                </a:gsLst>
                <a:lin ang="5400000" scaled="0"/>
              </a:gradFill>
              <a:cs typeface="Segoe UI"/>
            </a:endParaRPr>
          </a:p>
          <a:p>
            <a:pPr marL="923290" lvl="1" indent="-457200">
              <a:lnSpc>
                <a:spcPct val="90000"/>
              </a:lnSpc>
              <a:spcAft>
                <a:spcPts val="1000"/>
              </a:spcAft>
              <a:buAutoNum type="arabicPeriod"/>
            </a:pPr>
            <a:r>
              <a:rPr lang="en-US" sz="2400" dirty="0">
                <a:gradFill>
                  <a:gsLst>
                    <a:gs pos="2917">
                      <a:schemeClr val="tx1"/>
                    </a:gs>
                    <a:gs pos="30000">
                      <a:schemeClr val="tx1"/>
                    </a:gs>
                  </a:gsLst>
                  <a:lin ang="5400000" scaled="0"/>
                </a:gradFill>
              </a:rPr>
              <a:t>People 15 results</a:t>
            </a:r>
            <a:endParaRPr lang="en-US" sz="2400" dirty="0">
              <a:gradFill>
                <a:gsLst>
                  <a:gs pos="2917">
                    <a:schemeClr val="tx1"/>
                  </a:gs>
                  <a:gs pos="30000">
                    <a:schemeClr val="tx1"/>
                  </a:gs>
                </a:gsLst>
                <a:lin ang="5400000" scaled="0"/>
              </a:gradFill>
              <a:cs typeface="Segoe UI"/>
            </a:endParaRPr>
          </a:p>
          <a:p>
            <a:pPr marL="923290" lvl="1" indent="-457200">
              <a:lnSpc>
                <a:spcPct val="90000"/>
              </a:lnSpc>
              <a:spcAft>
                <a:spcPts val="1000"/>
              </a:spcAft>
              <a:buAutoNum type="arabicPeriod"/>
            </a:pPr>
            <a:r>
              <a:rPr lang="en-US" sz="2400" dirty="0">
                <a:gradFill>
                  <a:gsLst>
                    <a:gs pos="2917">
                      <a:schemeClr val="tx1"/>
                    </a:gs>
                    <a:gs pos="30000">
                      <a:schemeClr val="tx1"/>
                    </a:gs>
                  </a:gsLst>
                  <a:lin ang="5400000" scaled="0"/>
                </a:gradFill>
              </a:rPr>
              <a:t>Rooms 20 results</a:t>
            </a:r>
            <a:endParaRPr lang="en-US" sz="2400" dirty="0">
              <a:gradFill>
                <a:gsLst>
                  <a:gs pos="2917">
                    <a:schemeClr val="tx1"/>
                  </a:gs>
                  <a:gs pos="30000">
                    <a:schemeClr val="tx1"/>
                  </a:gs>
                </a:gsLst>
                <a:lin ang="5400000" scaled="0"/>
              </a:gradFill>
              <a:cs typeface="Segoe UI"/>
            </a:endParaRPr>
          </a:p>
        </p:txBody>
      </p:sp>
      <p:pic>
        <p:nvPicPr>
          <p:cNvPr id="6" name="Picture 5">
            <a:extLst>
              <a:ext uri="{FF2B5EF4-FFF2-40B4-BE49-F238E27FC236}">
                <a16:creationId xmlns:a16="http://schemas.microsoft.com/office/drawing/2014/main" id="{171ACD72-3FCC-49DE-861D-48A1E8FC2522}"/>
              </a:ext>
            </a:extLst>
          </p:cNvPr>
          <p:cNvPicPr>
            <a:picLocks noChangeAspect="1"/>
          </p:cNvPicPr>
          <p:nvPr/>
        </p:nvPicPr>
        <p:blipFill>
          <a:blip r:embed="rId3"/>
          <a:stretch>
            <a:fillRect/>
          </a:stretch>
        </p:blipFill>
        <p:spPr>
          <a:xfrm>
            <a:off x="2941637" y="1220599"/>
            <a:ext cx="4495800" cy="5248108"/>
          </a:xfrm>
          <a:prstGeom prst="rect">
            <a:avLst/>
          </a:prstGeom>
        </p:spPr>
      </p:pic>
    </p:spTree>
    <p:extLst>
      <p:ext uri="{BB962C8B-B14F-4D97-AF65-F5344CB8AC3E}">
        <p14:creationId xmlns:p14="http://schemas.microsoft.com/office/powerpoint/2010/main" val="187502761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8D7"/>
                </a:solidFill>
                <a:cs typeface="Segoe UI"/>
              </a:rPr>
              <a:t>Working with screens</a:t>
            </a:r>
          </a:p>
        </p:txBody>
      </p:sp>
      <p:sp>
        <p:nvSpPr>
          <p:cNvPr id="3" name="Text Placeholder 2"/>
          <p:cNvSpPr>
            <a:spLocks noGrp="1"/>
          </p:cNvSpPr>
          <p:nvPr>
            <p:ph type="body" sz="quarter" idx="10"/>
          </p:nvPr>
        </p:nvSpPr>
        <p:spPr>
          <a:xfrm>
            <a:off x="6675436" y="1212850"/>
            <a:ext cx="5486401" cy="3913892"/>
          </a:xfrm>
        </p:spPr>
        <p:txBody>
          <a:bodyPr vert="horz" wrap="square" lIns="146304" tIns="91440" rIns="146304" bIns="91440" rtlCol="0" anchor="t">
            <a:spAutoFit/>
          </a:bodyPr>
          <a:lstStyle/>
          <a:p>
            <a:pPr>
              <a:spcAft>
                <a:spcPts val="1000"/>
              </a:spcAft>
            </a:pPr>
            <a:r>
              <a:rPr lang="en-US" dirty="0"/>
              <a:t>Add multiple screens and name them. The name becomes a global variable.</a:t>
            </a:r>
            <a:endParaRPr lang="en-US"/>
          </a:p>
          <a:p>
            <a:pPr>
              <a:spcAft>
                <a:spcPts val="1000"/>
              </a:spcAft>
            </a:pPr>
            <a:r>
              <a:rPr lang="en-US" dirty="0"/>
              <a:t>Pass context between screens as a parameter to these formulas.</a:t>
            </a:r>
            <a:endParaRPr lang="en-US" dirty="0">
              <a:cs typeface="Segoe UI Light"/>
            </a:endParaRPr>
          </a:p>
        </p:txBody>
      </p:sp>
      <p:pic>
        <p:nvPicPr>
          <p:cNvPr id="8" name="Picture 7">
            <a:extLst>
              <a:ext uri="{FF2B5EF4-FFF2-40B4-BE49-F238E27FC236}">
                <a16:creationId xmlns:a16="http://schemas.microsoft.com/office/drawing/2014/main" id="{56AA8ADE-D359-43F3-B43D-3750A1A740DB}"/>
              </a:ext>
            </a:extLst>
          </p:cNvPr>
          <p:cNvPicPr>
            <a:picLocks noChangeAspect="1"/>
          </p:cNvPicPr>
          <p:nvPr/>
        </p:nvPicPr>
        <p:blipFill rotWithShape="1">
          <a:blip r:embed="rId3"/>
          <a:srcRect b="55223"/>
          <a:stretch/>
        </p:blipFill>
        <p:spPr>
          <a:xfrm>
            <a:off x="239345" y="1299910"/>
            <a:ext cx="4697406" cy="3949951"/>
          </a:xfrm>
          <a:prstGeom prst="rect">
            <a:avLst/>
          </a:prstGeom>
        </p:spPr>
      </p:pic>
      <p:cxnSp>
        <p:nvCxnSpPr>
          <p:cNvPr id="10" name="Straight Arrow Connector 9">
            <a:extLst>
              <a:ext uri="{FF2B5EF4-FFF2-40B4-BE49-F238E27FC236}">
                <a16:creationId xmlns:a16="http://schemas.microsoft.com/office/drawing/2014/main" id="{D4089F4F-C8BD-4415-9100-4E32CFEF1135}"/>
              </a:ext>
            </a:extLst>
          </p:cNvPr>
          <p:cNvCxnSpPr>
            <a:cxnSpLocks/>
          </p:cNvCxnSpPr>
          <p:nvPr/>
        </p:nvCxnSpPr>
        <p:spPr>
          <a:xfrm flipH="1">
            <a:off x="1874837" y="1599141"/>
            <a:ext cx="1447800" cy="602721"/>
          </a:xfrm>
          <a:prstGeom prst="straightConnector1">
            <a:avLst/>
          </a:prstGeom>
          <a:ln w="57150">
            <a:headEnd type="none"/>
            <a:tailEnd type="triangle"/>
          </a:ln>
        </p:spPr>
        <p:style>
          <a:lnRef idx="2">
            <a:schemeClr val="accent2"/>
          </a:lnRef>
          <a:fillRef idx="0">
            <a:schemeClr val="accent2"/>
          </a:fillRef>
          <a:effectRef idx="1">
            <a:schemeClr val="accent2"/>
          </a:effectRef>
          <a:fontRef idx="minor">
            <a:schemeClr val="tx1"/>
          </a:fontRef>
        </p:style>
      </p:cxnSp>
      <p:cxnSp>
        <p:nvCxnSpPr>
          <p:cNvPr id="15" name="Straight Arrow Connector 14">
            <a:extLst>
              <a:ext uri="{FF2B5EF4-FFF2-40B4-BE49-F238E27FC236}">
                <a16:creationId xmlns:a16="http://schemas.microsoft.com/office/drawing/2014/main" id="{F0DC2181-B674-479F-9430-4010D7FD279D}"/>
              </a:ext>
            </a:extLst>
          </p:cNvPr>
          <p:cNvCxnSpPr>
            <a:cxnSpLocks/>
          </p:cNvCxnSpPr>
          <p:nvPr/>
        </p:nvCxnSpPr>
        <p:spPr>
          <a:xfrm flipH="1">
            <a:off x="3098531" y="3603623"/>
            <a:ext cx="1616159" cy="655639"/>
          </a:xfrm>
          <a:prstGeom prst="straightConnector1">
            <a:avLst/>
          </a:prstGeom>
          <a:ln w="57150">
            <a:headEnd type="none"/>
            <a:tailEnd type="triangle"/>
          </a:ln>
        </p:spPr>
        <p:style>
          <a:lnRef idx="2">
            <a:schemeClr val="accent2"/>
          </a:lnRef>
          <a:fillRef idx="0">
            <a:schemeClr val="accent2"/>
          </a:fillRef>
          <a:effectRef idx="1">
            <a:schemeClr val="accent2"/>
          </a:effectRef>
          <a:fontRef idx="minor">
            <a:schemeClr val="tx1"/>
          </a:fontRef>
        </p:style>
      </p:cxnSp>
      <p:cxnSp>
        <p:nvCxnSpPr>
          <p:cNvPr id="17" name="Straight Arrow Connector 16">
            <a:extLst>
              <a:ext uri="{FF2B5EF4-FFF2-40B4-BE49-F238E27FC236}">
                <a16:creationId xmlns:a16="http://schemas.microsoft.com/office/drawing/2014/main" id="{0100D45F-A59F-4E92-9545-CB34876B1CDB}"/>
              </a:ext>
            </a:extLst>
          </p:cNvPr>
          <p:cNvCxnSpPr>
            <a:cxnSpLocks/>
          </p:cNvCxnSpPr>
          <p:nvPr/>
        </p:nvCxnSpPr>
        <p:spPr>
          <a:xfrm flipH="1">
            <a:off x="2982727" y="3603623"/>
            <a:ext cx="1725006" cy="187853"/>
          </a:xfrm>
          <a:prstGeom prst="straightConnector1">
            <a:avLst/>
          </a:prstGeom>
          <a:ln w="57150">
            <a:headEnd type="none"/>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167484817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2">
            <a:extLst>
              <a:ext uri="{FF2B5EF4-FFF2-40B4-BE49-F238E27FC236}">
                <a16:creationId xmlns:a16="http://schemas.microsoft.com/office/drawing/2014/main" id="{6F9EB9F2-07E2-4D64-BBD8-BB5B217F1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8012" y="326411"/>
            <a:ext cx="11780450" cy="6341702"/>
          </a:xfrm>
          <a:prstGeom prst="rect">
            <a:avLst/>
          </a:prstGeom>
          <a:solidFill>
            <a:schemeClr val="tx1">
              <a:alpha val="12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4B90FCF2-EECD-430D-9A80-C888748FFCE6}"/>
              </a:ext>
            </a:extLst>
          </p:cNvPr>
          <p:cNvSpPr>
            <a:spLocks noGrp="1"/>
          </p:cNvSpPr>
          <p:nvPr>
            <p:ph type="title"/>
          </p:nvPr>
        </p:nvSpPr>
        <p:spPr>
          <a:xfrm>
            <a:off x="4495553" y="1364536"/>
            <a:ext cx="6901752" cy="4265449"/>
          </a:xfrm>
        </p:spPr>
        <p:txBody>
          <a:bodyPr vert="horz" lIns="91440" tIns="45720" rIns="91440" bIns="45720" rtlCol="0" anchor="ctr">
            <a:normAutofit/>
          </a:bodyPr>
          <a:lstStyle/>
          <a:p>
            <a:pPr defTabSz="914400"/>
            <a:r>
              <a:rPr lang="en-US" sz="5500" kern="1200" dirty="0">
                <a:solidFill>
                  <a:schemeClr val="tx1">
                    <a:lumMod val="85000"/>
                    <a:lumOff val="15000"/>
                  </a:schemeClr>
                </a:solidFill>
                <a:latin typeface="+mj-lt"/>
                <a:ea typeface="+mj-ea"/>
                <a:cs typeface="+mj-cs"/>
              </a:rPr>
              <a:t>Navigation</a:t>
            </a:r>
            <a:br>
              <a:rPr lang="en-US" sz="5500" kern="1200" dirty="0">
                <a:solidFill>
                  <a:schemeClr val="tx1">
                    <a:lumMod val="85000"/>
                    <a:lumOff val="15000"/>
                  </a:schemeClr>
                </a:solidFill>
                <a:latin typeface="+mj-lt"/>
                <a:ea typeface="+mj-ea"/>
                <a:cs typeface="+mj-cs"/>
              </a:rPr>
            </a:br>
            <a:endParaRPr lang="en-US" sz="5500" kern="1200" dirty="0">
              <a:solidFill>
                <a:schemeClr val="tx1">
                  <a:lumMod val="85000"/>
                  <a:lumOff val="15000"/>
                </a:schemeClr>
              </a:solidFill>
              <a:latin typeface="+mj-lt"/>
              <a:ea typeface="+mj-ea"/>
              <a:cs typeface="+mj-cs"/>
            </a:endParaRPr>
          </a:p>
        </p:txBody>
      </p:sp>
      <p:cxnSp>
        <p:nvCxnSpPr>
          <p:cNvPr id="30" name="Straight Connector 24">
            <a:extLst>
              <a:ext uri="{FF2B5EF4-FFF2-40B4-BE49-F238E27FC236}">
                <a16:creationId xmlns:a16="http://schemas.microsoft.com/office/drawing/2014/main" id="{F0C57C7C-DFE9-4A1E-B7A9-DF40E63366B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137220" y="2098356"/>
            <a:ext cx="0" cy="279781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775732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2AF14D-3921-4BE1-AE69-9F95C287E4D8}"/>
              </a:ext>
            </a:extLst>
          </p:cNvPr>
          <p:cNvSpPr>
            <a:spLocks noGrp="1"/>
          </p:cNvSpPr>
          <p:nvPr>
            <p:ph type="title"/>
          </p:nvPr>
        </p:nvSpPr>
        <p:spPr/>
        <p:txBody>
          <a:bodyPr/>
          <a:lstStyle/>
          <a:p>
            <a:r>
              <a:rPr lang="en-US" dirty="0">
                <a:solidFill>
                  <a:srgbClr val="0078D7"/>
                </a:solidFill>
                <a:cs typeface="Segoe UI"/>
              </a:rPr>
              <a:t>Navigate between screens</a:t>
            </a:r>
          </a:p>
        </p:txBody>
      </p:sp>
      <p:sp>
        <p:nvSpPr>
          <p:cNvPr id="3" name="Text Placeholder 2">
            <a:extLst>
              <a:ext uri="{FF2B5EF4-FFF2-40B4-BE49-F238E27FC236}">
                <a16:creationId xmlns:a16="http://schemas.microsoft.com/office/drawing/2014/main" id="{3DC10D10-E8DD-447D-9E1B-B50109ECBD94}"/>
              </a:ext>
            </a:extLst>
          </p:cNvPr>
          <p:cNvSpPr>
            <a:spLocks noGrp="1"/>
          </p:cNvSpPr>
          <p:nvPr>
            <p:ph type="body" sz="quarter" idx="10"/>
          </p:nvPr>
        </p:nvSpPr>
        <p:spPr>
          <a:xfrm>
            <a:off x="7208836" y="1212850"/>
            <a:ext cx="5227639" cy="5389168"/>
          </a:xfrm>
        </p:spPr>
        <p:txBody>
          <a:bodyPr vert="horz" wrap="square" lIns="146304" tIns="91440" rIns="146304" bIns="91440" rtlCol="0" anchor="t">
            <a:spAutoFit/>
          </a:bodyPr>
          <a:lstStyle/>
          <a:p>
            <a:pPr>
              <a:spcAft>
                <a:spcPts val="1000"/>
              </a:spcAft>
            </a:pPr>
            <a:r>
              <a:rPr lang="en-US" dirty="0"/>
              <a:t>Navigate screens with Navigate() or Back() </a:t>
            </a:r>
            <a:r>
              <a:rPr lang="en-US"/>
              <a:t>formulas from controls.</a:t>
            </a:r>
            <a:endParaRPr lang="en-US" dirty="0">
              <a:cs typeface="Segoe UI Light"/>
            </a:endParaRPr>
          </a:p>
          <a:p>
            <a:pPr>
              <a:spcAft>
                <a:spcPts val="1000"/>
              </a:spcAft>
            </a:pPr>
            <a:r>
              <a:rPr lang="en-US" dirty="0"/>
              <a:t>You can always get the current screen with </a:t>
            </a:r>
            <a:r>
              <a:rPr lang="en-US"/>
              <a:t>App.ActiveScreen.</a:t>
            </a:r>
            <a:endParaRPr lang="en-US">
              <a:cs typeface="Segoe UI Light"/>
            </a:endParaRPr>
          </a:p>
          <a:p>
            <a:pPr>
              <a:spcAft>
                <a:spcPts val="1000"/>
              </a:spcAft>
            </a:pPr>
            <a:r>
              <a:rPr lang="en-US" dirty="0"/>
              <a:t>Back() works like the Back button in Android</a:t>
            </a:r>
            <a:endParaRPr lang="en-US" dirty="0">
              <a:cs typeface="Segoe UI Light"/>
            </a:endParaRPr>
          </a:p>
          <a:p>
            <a:pPr marL="0" indent="0">
              <a:buNone/>
            </a:pPr>
            <a:endParaRPr lang="en-US" dirty="0"/>
          </a:p>
        </p:txBody>
      </p:sp>
      <p:pic>
        <p:nvPicPr>
          <p:cNvPr id="7" name="Picture 6">
            <a:extLst>
              <a:ext uri="{FF2B5EF4-FFF2-40B4-BE49-F238E27FC236}">
                <a16:creationId xmlns:a16="http://schemas.microsoft.com/office/drawing/2014/main" id="{8CDC37C5-DCFD-4637-8B75-30E490F45A3A}"/>
              </a:ext>
            </a:extLst>
          </p:cNvPr>
          <p:cNvPicPr>
            <a:picLocks noChangeAspect="1"/>
          </p:cNvPicPr>
          <p:nvPr/>
        </p:nvPicPr>
        <p:blipFill>
          <a:blip r:embed="rId2"/>
          <a:stretch>
            <a:fillRect/>
          </a:stretch>
        </p:blipFill>
        <p:spPr>
          <a:xfrm>
            <a:off x="274639" y="1592262"/>
            <a:ext cx="6890826" cy="2679385"/>
          </a:xfrm>
          <a:prstGeom prst="rect">
            <a:avLst/>
          </a:prstGeom>
        </p:spPr>
      </p:pic>
      <p:cxnSp>
        <p:nvCxnSpPr>
          <p:cNvPr id="9" name="Straight Arrow Connector 8">
            <a:extLst>
              <a:ext uri="{FF2B5EF4-FFF2-40B4-BE49-F238E27FC236}">
                <a16:creationId xmlns:a16="http://schemas.microsoft.com/office/drawing/2014/main" id="{FA025D87-0327-4464-8787-0566AB16D0D3}"/>
              </a:ext>
            </a:extLst>
          </p:cNvPr>
          <p:cNvCxnSpPr>
            <a:cxnSpLocks/>
          </p:cNvCxnSpPr>
          <p:nvPr/>
        </p:nvCxnSpPr>
        <p:spPr>
          <a:xfrm>
            <a:off x="1036637" y="2192776"/>
            <a:ext cx="2514600" cy="0"/>
          </a:xfrm>
          <a:prstGeom prst="straightConnector1">
            <a:avLst/>
          </a:prstGeom>
          <a:ln w="88900">
            <a:solidFill>
              <a:schemeClr val="accent2">
                <a:alpha val="41000"/>
              </a:schemeClr>
            </a:solidFill>
            <a:headEnd type="none"/>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385144253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2"/>
            <p:custDataLst>
              <p:tags r:id="rId1"/>
            </p:custDataLst>
          </p:nvPr>
        </p:nvSpPr>
        <p:spPr>
          <a:xfrm>
            <a:off x="274638" y="2540407"/>
            <a:ext cx="5486401" cy="4185761"/>
          </a:xfrm>
        </p:spPr>
        <p:txBody>
          <a:bodyPr/>
          <a:lstStyle>
            <a:lvl1pPr marL="342900" marR="0" indent="-342900" algn="l" defTabSz="932742" rtl="0" eaLnBrk="1" fontAlgn="auto" latinLnBrk="0" hangingPunct="1">
              <a:buClrTx/>
              <a:buSzPct val="90000"/>
              <a:buFont typeface="Arial" pitchFamily="34" charset="0"/>
              <a:buChar char="•"/>
            </a:lvl1pPr>
            <a:lvl2pPr marL="584200" marR="0" indent="-241300" algn="l" defTabSz="932742" rtl="0" eaLnBrk="1" fontAlgn="auto" latinLnBrk="0" hangingPunct="1">
              <a:buClrTx/>
              <a:buSzPct val="90000"/>
              <a:buFont typeface="Arial" pitchFamily="34" charset="0"/>
              <a:buChar char="•"/>
            </a:lvl2pPr>
            <a:lvl3pPr marL="800100" marR="0" indent="-228600" algn="l" defTabSz="932742" rtl="0" eaLnBrk="1" fontAlgn="auto" latinLnBrk="0" hangingPunct="1">
              <a:buClrTx/>
              <a:buSzPct val="90000"/>
              <a:buFont typeface="Arial" pitchFamily="34" charset="0"/>
              <a:buChar char="•"/>
            </a:lvl3pPr>
            <a:lvl4pPr marL="1028700" marR="0" indent="-228600" algn="l" defTabSz="932742" rtl="0" eaLnBrk="1" fontAlgn="auto" latinLnBrk="0" hangingPunct="1">
              <a:buClrTx/>
              <a:buSzPct val="90000"/>
              <a:buFont typeface="Arial" pitchFamily="34" charset="0"/>
              <a:buChar char="•"/>
            </a:lvl4pPr>
            <a:lvl5pPr marL="1257300" marR="0" indent="-228600" algn="l" defTabSz="932742" rtl="0" eaLnBrk="1" fontAlgn="auto" latinLnBrk="0" hangingPunct="1">
              <a:buClrTx/>
              <a:buSzPct val="90000"/>
              <a:buFont typeface="Arial" pitchFamily="34" charset="0"/>
              <a:buChar char="•"/>
            </a:lvl5pPr>
            <a:lvl6pPr marL="2565040" indent="-233186" algn="l" defTabSz="932742" rtl="0" eaLnBrk="1" latinLnBrk="0" hangingPunct="1">
              <a:buFont typeface="Arial" pitchFamily="34" charset="0"/>
              <a:buChar char="•"/>
            </a:lvl6pPr>
            <a:lvl7pPr marL="3031412" indent="-233186" algn="l" defTabSz="932742" rtl="0" eaLnBrk="1" latinLnBrk="0" hangingPunct="1">
              <a:buFont typeface="Arial" pitchFamily="34" charset="0"/>
              <a:buChar char="•"/>
            </a:lvl7pPr>
            <a:lvl8pPr marL="3497783" indent="-233186" algn="l" defTabSz="932742" rtl="0" eaLnBrk="1" latinLnBrk="0" hangingPunct="1">
              <a:buFont typeface="Arial" pitchFamily="34" charset="0"/>
              <a:buChar char="•"/>
            </a:lvl8pPr>
            <a:lvl9pPr marL="3964155" indent="-233186" algn="l" defTabSz="932742" rtl="0" eaLnBrk="1" latinLnBrk="0" hangingPunct="1">
              <a:buFont typeface="Arial" pitchFamily="34" charset="0"/>
              <a:buChar char="•"/>
            </a:lvl9pPr>
          </a:lstStyle>
          <a:p>
            <a:pPr>
              <a:buNone/>
            </a:pPr>
            <a:r>
              <a:rPr lang="en-US" sz="2000" dirty="0">
                <a:latin typeface="+mn-lt"/>
              </a:rPr>
              <a:t>Objectives </a:t>
            </a:r>
          </a:p>
          <a:p>
            <a:pPr>
              <a:buNone/>
            </a:pPr>
            <a:r>
              <a:rPr lang="en-US" sz="2000" b="0" dirty="0">
                <a:latin typeface="+mn-lt"/>
              </a:rPr>
              <a:t>After completing this lab, you will be able to:</a:t>
            </a:r>
          </a:p>
          <a:p>
            <a:r>
              <a:rPr lang="en-US" sz="2000" b="0" dirty="0">
                <a:latin typeface="+mn-lt"/>
              </a:rPr>
              <a:t>Rename screens in Power Apps Studio.</a:t>
            </a:r>
          </a:p>
          <a:p>
            <a:r>
              <a:rPr lang="en-US" sz="2000" b="0" dirty="0">
                <a:latin typeface="+mn-lt"/>
              </a:rPr>
              <a:t>Add and manipulate the label control in Power Apps Studio.</a:t>
            </a:r>
          </a:p>
          <a:p>
            <a:pPr marL="0" indent="0">
              <a:buNone/>
            </a:pPr>
            <a:endParaRPr lang="en-US" sz="2000" b="0" dirty="0">
              <a:latin typeface="+mn-lt"/>
            </a:endParaRPr>
          </a:p>
          <a:p>
            <a:pPr marL="0" indent="0">
              <a:buNone/>
            </a:pPr>
            <a:r>
              <a:rPr lang="en-US" sz="2000" dirty="0">
                <a:latin typeface="+mn-lt"/>
              </a:rPr>
              <a:t>Scenario</a:t>
            </a:r>
            <a:r>
              <a:rPr lang="en-US" sz="2000" b="0" dirty="0">
                <a:latin typeface="+mn-lt"/>
              </a:rPr>
              <a:t> </a:t>
            </a:r>
          </a:p>
          <a:p>
            <a:pPr marL="0" indent="0">
              <a:buNone/>
            </a:pPr>
            <a:r>
              <a:rPr lang="en-US" sz="2000" b="0" dirty="0">
                <a:latin typeface="+mn-lt"/>
              </a:rPr>
              <a:t>The organization wishes to build apps using the Power Apps platform to take advantage of No Code/Low Code application development in the cloud. As part of this effort, you are required to use PowerApps Studio and manipulate different screens and controls.</a:t>
            </a:r>
          </a:p>
        </p:txBody>
      </p:sp>
      <p:sp>
        <p:nvSpPr>
          <p:cNvPr id="5" name="Title 2">
            <a:extLst>
              <a:ext uri="{FF2B5EF4-FFF2-40B4-BE49-F238E27FC236}">
                <a16:creationId xmlns:a16="http://schemas.microsoft.com/office/drawing/2014/main" id="{CCD53B05-DBF9-455D-8DE1-8FA8E65E9678}"/>
              </a:ext>
            </a:extLst>
          </p:cNvPr>
          <p:cNvSpPr txBox="1">
            <a:spLocks/>
          </p:cNvSpPr>
          <p:nvPr/>
        </p:nvSpPr>
        <p:spPr>
          <a:xfrm>
            <a:off x="1570037" y="361349"/>
            <a:ext cx="4800600" cy="2179058"/>
          </a:xfrm>
          <a:prstGeom prst="rect">
            <a:avLst/>
          </a:prstGeom>
        </p:spPr>
        <p:txBody>
          <a:bodyPr vert="horz" wrap="square" lIns="146304" tIns="91440" rIns="146304" bIns="91440" rtlCol="0" anchor="t">
            <a:spAutoFit/>
          </a:bodyPr>
          <a:lstStyle>
            <a:lvl1pPr algn="l" defTabSz="932742" rtl="0" eaLnBrk="1" latinLnBrk="0" hangingPunct="1">
              <a:lnSpc>
                <a:spcPct val="90000"/>
              </a:lnSpc>
              <a:spcBef>
                <a:spcPct val="0"/>
              </a:spcBef>
              <a:buNone/>
              <a:defRPr lang="en-US" sz="4800" b="0" kern="1200" cap="none" spc="-102" baseline="0">
                <a:ln w="3175">
                  <a:noFill/>
                </a:ln>
                <a:solidFill>
                  <a:schemeClr val="accent3"/>
                </a:solidFill>
                <a:effectLst/>
                <a:latin typeface="+mj-lt"/>
                <a:ea typeface="+mn-ea"/>
                <a:cs typeface="Segoe UI" pitchFamily="34" charset="0"/>
              </a:defRPr>
            </a:lvl1pPr>
          </a:lstStyle>
          <a:p>
            <a:r>
              <a:rPr lang="en-US" dirty="0"/>
              <a:t>Configuring screens and controls</a:t>
            </a:r>
          </a:p>
        </p:txBody>
      </p:sp>
    </p:spTree>
    <p:extLst>
      <p:ext uri="{BB962C8B-B14F-4D97-AF65-F5344CB8AC3E}">
        <p14:creationId xmlns:p14="http://schemas.microsoft.com/office/powerpoint/2010/main" val="179692226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 example" id="{1C3926DE-7F71-4D7A-B5F6-93A655CC656D}" vid="{2E7D1C45-11F4-44F4-A357-146D90A686D6}"/>
    </a:ext>
  </a:extLst>
</a:theme>
</file>

<file path=ppt/theme/theme2.xml><?xml version="1.0" encoding="utf-8"?>
<a:theme xmlns:a="http://schemas.openxmlformats.org/drawingml/2006/main" name="Slide Order Exampl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 example" id="{1C3926DE-7F71-4D7A-B5F6-93A655CC656D}" vid="{2741F226-CF8B-4F26-BBF7-A6BD44C97AB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41A30EF4619004EBEDFBAB8622F3BF8" ma:contentTypeVersion="2" ma:contentTypeDescription="Create a new document." ma:contentTypeScope="" ma:versionID="5106ef4052bf219c157e3a911ade681b">
  <xsd:schema xmlns:xsd="http://www.w3.org/2001/XMLSchema" xmlns:xs="http://www.w3.org/2001/XMLSchema" xmlns:p="http://schemas.microsoft.com/office/2006/metadata/properties" xmlns:ns2="04712b7a-9a5f-4844-9ec7-615beca820f8" targetNamespace="http://schemas.microsoft.com/office/2006/metadata/properties" ma:root="true" ma:fieldsID="950ef3728ecd69a455950e0c8f83706e" ns2:_="">
    <xsd:import namespace="04712b7a-9a5f-4844-9ec7-615beca820f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712b7a-9a5f-4844-9ec7-615beca820f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3b5b03cc-9306-41fe-b546-62901339ed8b"/>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5253fb86-9b63-4920-bff8-96c644771ec3"/>
    <ds:schemaRef ds:uri="http://www.w3.org/XML/1998/namespace"/>
    <ds:schemaRef ds:uri="e7d72042-c94b-4623-b7b3-49577d00fb1c"/>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70DCA08-B19D-40F1-B1A0-91D0669FA84C}"/>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 template</Template>
  <TotalTime>1553</TotalTime>
  <Words>1005</Words>
  <Application>Microsoft Office PowerPoint</Application>
  <PresentationFormat>Custom</PresentationFormat>
  <Paragraphs>82</Paragraphs>
  <Slides>11</Slides>
  <Notes>6</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11</vt:i4>
      </vt:variant>
    </vt:vector>
  </HeadingPairs>
  <TitlesOfParts>
    <vt:vector size="20" baseType="lpstr">
      <vt:lpstr>Arial</vt:lpstr>
      <vt:lpstr>Calibri</vt:lpstr>
      <vt:lpstr>Calibri Light</vt:lpstr>
      <vt:lpstr>Consolas</vt:lpstr>
      <vt:lpstr>Segoe UI</vt:lpstr>
      <vt:lpstr>Segoe UI Light</vt:lpstr>
      <vt:lpstr>Wingdings</vt:lpstr>
      <vt:lpstr>WHITE TEMPLATE</vt:lpstr>
      <vt:lpstr>Slide Order Example</vt:lpstr>
      <vt:lpstr>Module 7: Starting with connectors, screens, and controls  </vt:lpstr>
      <vt:lpstr>Module Overview</vt:lpstr>
      <vt:lpstr>Screens </vt:lpstr>
      <vt:lpstr>Screens and controls</vt:lpstr>
      <vt:lpstr>Screen Templates</vt:lpstr>
      <vt:lpstr>Working with screens</vt:lpstr>
      <vt:lpstr>Navigation </vt:lpstr>
      <vt:lpstr>Navigate between screens</vt:lpstr>
      <vt:lpstr>PowerPoint Presentation</vt:lpstr>
      <vt:lpstr>PowerPoint Presentation</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Microsoft PowerApps Connectors WorkshopPLUS – Office 365 SharePoint Online: PowerApps and Flow for Power Users</dc:title>
  <dc:subject>&lt;Speech title here&gt;</dc:subject>
  <dc:creator>Asia Gandecka</dc:creator>
  <cp:keywords>MSVID, Brand Guidelines, Branding, Visual Identity, grid</cp:keywords>
  <dc:description>Template: Maryfj_x000d_
Formatting: _x000d_
Audience Type:</dc:description>
  <cp:lastModifiedBy>Justin Evans (CE SP)</cp:lastModifiedBy>
  <cp:revision>67</cp:revision>
  <dcterms:created xsi:type="dcterms:W3CDTF">2019-04-24T00:09:06Z</dcterms:created>
  <dcterms:modified xsi:type="dcterms:W3CDTF">2021-10-05T00:1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1A30EF4619004EBEDFBAB8622F3BF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_dlc_DocIdItemGuid">
    <vt:lpwstr>44018ff3-f7cd-49ec-be29-23dee7970696</vt:lpwstr>
  </property>
  <property fmtid="{D5CDD505-2E9C-101B-9397-08002B2CF9AE}" pid="12" name="MSIP_Label_f42aa342-8706-4288-bd11-ebb85995028c_Enabled">
    <vt:lpwstr>True</vt:lpwstr>
  </property>
  <property fmtid="{D5CDD505-2E9C-101B-9397-08002B2CF9AE}" pid="13" name="MSIP_Label_f42aa342-8706-4288-bd11-ebb85995028c_SiteId">
    <vt:lpwstr>72f988bf-86f1-41af-91ab-2d7cd011db47</vt:lpwstr>
  </property>
  <property fmtid="{D5CDD505-2E9C-101B-9397-08002B2CF9AE}" pid="14" name="MSIP_Label_f42aa342-8706-4288-bd11-ebb85995028c_Ref">
    <vt:lpwstr>https://api.informationprotection.azure.com/api/72f988bf-86f1-41af-91ab-2d7cd011db47</vt:lpwstr>
  </property>
  <property fmtid="{D5CDD505-2E9C-101B-9397-08002B2CF9AE}" pid="15" name="MSIP_Label_f42aa342-8706-4288-bd11-ebb85995028c_Owner">
    <vt:lpwstr>sanair@microsoft.com</vt:lpwstr>
  </property>
  <property fmtid="{D5CDD505-2E9C-101B-9397-08002B2CF9AE}" pid="16" name="MSIP_Label_f42aa342-8706-4288-bd11-ebb85995028c_SetDate">
    <vt:lpwstr>2017-10-04T13:15:56.0607831-07:00</vt:lpwstr>
  </property>
  <property fmtid="{D5CDD505-2E9C-101B-9397-08002B2CF9AE}" pid="17" name="MSIP_Label_f42aa342-8706-4288-bd11-ebb85995028c_Name">
    <vt:lpwstr>General</vt:lpwstr>
  </property>
  <property fmtid="{D5CDD505-2E9C-101B-9397-08002B2CF9AE}" pid="18" name="MSIP_Label_f42aa342-8706-4288-bd11-ebb85995028c_Application">
    <vt:lpwstr>Microsoft Azure Information Protection</vt:lpwstr>
  </property>
  <property fmtid="{D5CDD505-2E9C-101B-9397-08002B2CF9AE}" pid="19" name="MSIP_Label_f42aa342-8706-4288-bd11-ebb85995028c_Extended_MSFT_Method">
    <vt:lpwstr>Automatic</vt:lpwstr>
  </property>
  <property fmtid="{D5CDD505-2E9C-101B-9397-08002B2CF9AE}" pid="20" name="Sensitivity">
    <vt:lpwstr>General</vt:lpwstr>
  </property>
  <property fmtid="{D5CDD505-2E9C-101B-9397-08002B2CF9AE}" pid="21" name="xd_ProgID">
    <vt:lpwstr/>
  </property>
  <property fmtid="{D5CDD505-2E9C-101B-9397-08002B2CF9AE}" pid="22" name="ComplianceAssetId">
    <vt:lpwstr/>
  </property>
  <property fmtid="{D5CDD505-2E9C-101B-9397-08002B2CF9AE}" pid="23" name="TemplateUrl">
    <vt:lpwstr/>
  </property>
  <property fmtid="{D5CDD505-2E9C-101B-9397-08002B2CF9AE}" pid="24" name="xd_Signature">
    <vt:bool>false</vt:bool>
  </property>
  <property fmtid="{D5CDD505-2E9C-101B-9397-08002B2CF9AE}" pid="25" name="Order">
    <vt:r8>43200</vt:r8>
  </property>
</Properties>
</file>